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0" r:id="rId2"/>
    <p:sldMasterId id="2147483666" r:id="rId3"/>
  </p:sldMasterIdLst>
  <p:notesMasterIdLst>
    <p:notesMasterId r:id="rId15"/>
  </p:notesMasterIdLst>
  <p:handoutMasterIdLst>
    <p:handoutMasterId r:id="rId16"/>
  </p:handoutMasterIdLst>
  <p:sldIdLst>
    <p:sldId id="256" r:id="rId4"/>
    <p:sldId id="289" r:id="rId5"/>
    <p:sldId id="277" r:id="rId6"/>
    <p:sldId id="282" r:id="rId7"/>
    <p:sldId id="285" r:id="rId8"/>
    <p:sldId id="280" r:id="rId9"/>
    <p:sldId id="291" r:id="rId10"/>
    <p:sldId id="290" r:id="rId11"/>
    <p:sldId id="292" r:id="rId12"/>
    <p:sldId id="293" r:id="rId13"/>
    <p:sldId id="294" r:id="rId14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4" autoAdjust="0"/>
    <p:restoredTop sz="94016" autoAdjust="0"/>
  </p:normalViewPr>
  <p:slideViewPr>
    <p:cSldViewPr snapToGrid="0" snapToObjects="1">
      <p:cViewPr varScale="1">
        <p:scale>
          <a:sx n="144" d="100"/>
          <a:sy n="144" d="100"/>
        </p:scale>
        <p:origin x="522" y="126"/>
      </p:cViewPr>
      <p:guideLst>
        <p:guide orient="horz" pos="395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parsecfs011\Securities0$\home\AlexanderTu\IF\FarmFacts_Graph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827343609067795E-2"/>
          <c:y val="9.132764859822444E-2"/>
          <c:w val="0.870082980898358"/>
          <c:h val="0.79948436697845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2!$C$2</c:f>
              <c:strCache>
                <c:ptCount val="1"/>
                <c:pt idx="0">
                  <c:v>Customers NEXT Farming OFFICE</c:v>
                </c:pt>
              </c:strCache>
            </c:strRef>
          </c:tx>
          <c:spPr>
            <a:solidFill>
              <a:srgbClr val="6BC39A"/>
            </a:solidFill>
            <a:ln>
              <a:noFill/>
            </a:ln>
            <a:effectLst/>
          </c:spPr>
          <c:invertIfNegative val="0"/>
          <c:cat>
            <c:numRef>
              <c:f>Sheet2!$B$3:$B$6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Sheet2!$C$3:$C$6</c:f>
              <c:numCache>
                <c:formatCode>General</c:formatCode>
                <c:ptCount val="4"/>
                <c:pt idx="0">
                  <c:v>510</c:v>
                </c:pt>
                <c:pt idx="1">
                  <c:v>679</c:v>
                </c:pt>
                <c:pt idx="2">
                  <c:v>667</c:v>
                </c:pt>
                <c:pt idx="3">
                  <c:v>7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E39-421D-9CC3-7E508F21952D}"/>
            </c:ext>
          </c:extLst>
        </c:ser>
        <c:ser>
          <c:idx val="1"/>
          <c:order val="1"/>
          <c:tx>
            <c:strRef>
              <c:f>Sheet2!$D$2</c:f>
              <c:strCache>
                <c:ptCount val="1"/>
                <c:pt idx="0">
                  <c:v>Customers NEXT Farming LIVE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</c:dPt>
          <c:cat>
            <c:numRef>
              <c:f>Sheet2!$B$3:$B$6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Sheet2!$D$3:$D$6</c:f>
              <c:numCache>
                <c:formatCode>General</c:formatCode>
                <c:ptCount val="4"/>
                <c:pt idx="1">
                  <c:v>1163</c:v>
                </c:pt>
                <c:pt idx="2">
                  <c:v>2194</c:v>
                </c:pt>
                <c:pt idx="3">
                  <c:v>49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E39-421D-9CC3-7E508F2195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28215784"/>
        <c:axId val="128220096"/>
      </c:barChart>
      <c:catAx>
        <c:axId val="128215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D9D9D9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8220096"/>
        <c:crosses val="autoZero"/>
        <c:auto val="1"/>
        <c:lblAlgn val="ctr"/>
        <c:lblOffset val="100"/>
        <c:noMultiLvlLbl val="0"/>
      </c:catAx>
      <c:valAx>
        <c:axId val="128220096"/>
        <c:scaling>
          <c:orientation val="minMax"/>
        </c:scaling>
        <c:delete val="1"/>
        <c:axPos val="l"/>
        <c:numFmt formatCode="#,##0" sourceLinked="0"/>
        <c:majorTickMark val="none"/>
        <c:minorTickMark val="none"/>
        <c:tickLblPos val="nextTo"/>
        <c:crossAx val="128215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3319768035741499E-2"/>
          <c:y val="1.6354830139937101E-2"/>
          <c:w val="0.44974789663482534"/>
          <c:h val="0.144771890610092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xmlns="" id="{07975364-8465-E24D-9D6A-64C5A12784A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9D2A717B-D242-CC4F-891D-64EEDB595A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0ABA56-7BB3-AD4C-80BA-BC6E935104D6}" type="datetimeFigureOut">
              <a:rPr lang="de-DE" smtClean="0"/>
              <a:t>09.09.20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A9925608-079A-B64E-BD30-6979022144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F5F20ADB-0CF3-8949-9EBA-B88586472A6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5965CE-AB2B-D44B-807D-954A68A4F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35816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B9B3A3-49F5-9B43-B1E5-808BAC2AC870}" type="datetimeFigureOut">
              <a:rPr lang="de-DE" smtClean="0"/>
              <a:t>09.09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D9855A-3AB8-1E41-B0D5-44D9ADDD25D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767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smtClean="0"/>
              <a:t>Mitarbeiter</a:t>
            </a:r>
            <a:r>
              <a:rPr lang="de-DE" baseline="0" dirty="0" smtClean="0"/>
              <a:t> mit starker Affinität zur Landwirtschaft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Markführer in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D9855A-3AB8-1E41-B0D5-44D9ADDD25D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2075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smtClean="0"/>
              <a:t>Wichtigster Draht zum Kunden:</a:t>
            </a:r>
            <a:r>
              <a:rPr lang="de-DE" baseline="0" dirty="0" smtClean="0"/>
              <a:t> Unser </a:t>
            </a:r>
            <a:r>
              <a:rPr lang="de-DE" baseline="0" dirty="0" err="1" smtClean="0"/>
              <a:t>Außendinst</a:t>
            </a:r>
            <a:r>
              <a:rPr lang="de-DE" baseline="0" dirty="0" smtClean="0"/>
              <a:t> und Vertrieb in der Fläche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Eigene Mitarbeiter (ca. 50) im Außendienst, aufgeteilt auf 5 Vertriebsregionen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International mit einem Mitarbeiter und einer </a:t>
            </a:r>
            <a:r>
              <a:rPr lang="de-DE" baseline="0" dirty="0" err="1" smtClean="0"/>
              <a:t>vielzahl</a:t>
            </a:r>
            <a:r>
              <a:rPr lang="de-DE" baseline="0" dirty="0" smtClean="0"/>
              <a:t> an Vertriebspartnerschaften, vor allem in Richtung Osteurop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D9855A-3AB8-1E41-B0D5-44D9ADDD25D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4212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smtClean="0"/>
              <a:t>Partnerschaften sind historisch betrachtet</a:t>
            </a:r>
            <a:r>
              <a:rPr lang="de-DE" baseline="0" dirty="0" smtClean="0"/>
              <a:t> stark Technik-</a:t>
            </a:r>
            <a:r>
              <a:rPr lang="de-DE" baseline="0" dirty="0" err="1" smtClean="0"/>
              <a:t>lastig</a:t>
            </a:r>
            <a:endParaRPr lang="de-DE" baseline="0" dirty="0" smtClean="0"/>
          </a:p>
          <a:p>
            <a:pPr marL="171450" indent="-171450">
              <a:buFontTx/>
              <a:buChar char="-"/>
            </a:pPr>
            <a:r>
              <a:rPr lang="de-DE" baseline="0" dirty="0" smtClean="0"/>
              <a:t>Allerdings werden es zunehmend Handelshäuser und Betriebsmittelhersteller, mit denen wir zusammen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D9855A-3AB8-1E41-B0D5-44D9ADDD25D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41647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baseline="0" dirty="0" smtClean="0"/>
              <a:t>Lösungen entlang der Prozesskette in der Landwirtschaft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Fokus auf Datenintegration und Nutzbarmachung sowie technische Unterstützung, wenig auf Beratung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Der Landwirt steht mit seiner Entscheidungsgewalt im Mittelpunkt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Vorführung LIVE</a:t>
            </a:r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D9855A-3AB8-1E41-B0D5-44D9ADDD25D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211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D9855A-3AB8-1E41-B0D5-44D9ADDD25D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6115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smtClean="0"/>
              <a:t>NEXT Machine Management </a:t>
            </a:r>
            <a:r>
              <a:rPr lang="en-US" baseline="0" dirty="0" err="1" smtClean="0"/>
              <a:t>uns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öß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operati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6 </a:t>
            </a:r>
            <a:r>
              <a:rPr lang="en-US" baseline="0" dirty="0" err="1" smtClean="0"/>
              <a:t>Landtechnikherstellern</a:t>
            </a:r>
            <a:endParaRPr lang="en-US" baseline="0" dirty="0" smtClean="0"/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Funkti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sehen</a:t>
            </a:r>
            <a:endParaRPr lang="en-US" baseline="0" dirty="0" smtClean="0"/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Gleichzeiti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das NMM die </a:t>
            </a:r>
            <a:r>
              <a:rPr lang="en-US" baseline="0" dirty="0" err="1" smtClean="0"/>
              <a:t>Internationalisierungsstrateg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LIVE – </a:t>
            </a:r>
            <a:r>
              <a:rPr lang="en-US" baseline="0" dirty="0" err="1" smtClean="0"/>
              <a:t>zunäch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uptfokus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Frankreich</a:t>
            </a:r>
            <a:r>
              <a:rPr lang="en-US" baseline="0" dirty="0" smtClean="0"/>
              <a:t> und UK, </a:t>
            </a:r>
            <a:r>
              <a:rPr lang="en-US" baseline="0" dirty="0" err="1" smtClean="0"/>
              <a:t>spät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it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änder</a:t>
            </a:r>
            <a:endParaRPr lang="en-US" baseline="0" dirty="0" smtClean="0"/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Nutzung</a:t>
            </a:r>
            <a:r>
              <a:rPr lang="en-US" baseline="0" dirty="0" smtClean="0"/>
              <a:t> des </a:t>
            </a:r>
            <a:r>
              <a:rPr lang="en-US" baseline="0" dirty="0" err="1" smtClean="0"/>
              <a:t>Vertriebsnetzes</a:t>
            </a:r>
            <a:r>
              <a:rPr lang="en-US" baseline="0" dirty="0" smtClean="0"/>
              <a:t> der </a:t>
            </a:r>
            <a:r>
              <a:rPr lang="en-US" baseline="0" dirty="0" err="1" smtClean="0"/>
              <a:t>Herstel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w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fba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iter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triebspartnerschaften</a:t>
            </a:r>
            <a:r>
              <a:rPr lang="en-US" baseline="0" dirty="0" smtClean="0"/>
              <a:t> in den </a:t>
            </a:r>
            <a:r>
              <a:rPr lang="en-US" baseline="0" dirty="0" err="1" smtClean="0"/>
              <a:t>Länder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5322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31813" y="88900"/>
            <a:ext cx="5640388" cy="3173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err="1" smtClean="0"/>
              <a:t>Anfang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i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nannt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Uns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ös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gleiten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Landwi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lang</a:t>
            </a:r>
            <a:r>
              <a:rPr lang="en-US" baseline="0" dirty="0" smtClean="0"/>
              <a:t> der </a:t>
            </a:r>
            <a:r>
              <a:rPr lang="en-US" baseline="0" dirty="0" err="1" smtClean="0"/>
              <a:t>gesam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zesskette</a:t>
            </a:r>
            <a:endParaRPr lang="en-US" baseline="0" dirty="0" smtClean="0"/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Da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re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fgestellt</a:t>
            </a:r>
            <a:r>
              <a:rPr lang="en-US" baseline="0" dirty="0" smtClean="0"/>
              <a:t>, von der </a:t>
            </a:r>
            <a:r>
              <a:rPr lang="en-US" baseline="0" dirty="0" err="1" smtClean="0"/>
              <a:t>Plan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saat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Düng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nte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Verkauf</a:t>
            </a:r>
            <a:r>
              <a:rPr lang="en-US" baseline="0" dirty="0" smtClean="0"/>
              <a:t>.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In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a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i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edo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ehl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s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fachli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iefe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bsp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flanzenschutz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Hi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dere</a:t>
            </a:r>
            <a:r>
              <a:rPr lang="en-US" baseline="0" dirty="0" smtClean="0"/>
              <a:t> stark </a:t>
            </a:r>
            <a:r>
              <a:rPr lang="en-US" baseline="0" dirty="0" err="1" smtClean="0"/>
              <a:t>spezialisiert</a:t>
            </a:r>
            <a:r>
              <a:rPr lang="en-US" baseline="0" dirty="0" smtClean="0"/>
              <a:t>.</a:t>
            </a:r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Hi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tz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</a:t>
            </a:r>
            <a:r>
              <a:rPr lang="en-US" baseline="0" dirty="0" smtClean="0"/>
              <a:t> intensive auf </a:t>
            </a:r>
            <a:r>
              <a:rPr lang="en-US" baseline="0" dirty="0" err="1" smtClean="0"/>
              <a:t>Zusammenarbe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Spezialisten</a:t>
            </a:r>
            <a:r>
              <a:rPr lang="en-US" baseline="0" dirty="0" smtClean="0"/>
              <a:t> – </a:t>
            </a:r>
            <a:r>
              <a:rPr lang="en-US" baseline="0" dirty="0" err="1" smtClean="0"/>
              <a:t>wi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eten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enorm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reite</a:t>
            </a:r>
            <a:r>
              <a:rPr lang="en-US" baseline="0" dirty="0" smtClean="0"/>
              <a:t>, der Partner die </a:t>
            </a:r>
            <a:r>
              <a:rPr lang="en-US" baseline="0" dirty="0" err="1" smtClean="0"/>
              <a:t>Spezialisierung</a:t>
            </a:r>
            <a:endParaRPr lang="en-US" baseline="0" dirty="0"/>
          </a:p>
          <a:p>
            <a:pPr marL="171450" indent="-171450">
              <a:buFontTx/>
              <a:buChar char="-"/>
            </a:pPr>
            <a:r>
              <a:rPr lang="en-US" baseline="0" dirty="0" smtClean="0"/>
              <a:t>Das </a:t>
            </a:r>
            <a:r>
              <a:rPr lang="en-US" baseline="0" dirty="0" err="1" smtClean="0"/>
              <a:t>all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meinsam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iel</a:t>
            </a:r>
            <a:r>
              <a:rPr lang="en-US" baseline="0" dirty="0" smtClean="0"/>
              <a:t>: Dem </a:t>
            </a:r>
            <a:r>
              <a:rPr lang="en-US" baseline="0" dirty="0" err="1" smtClean="0"/>
              <a:t>Kun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ptimal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tzenergebni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iefern</a:t>
            </a:r>
            <a:r>
              <a:rPr lang="en-US" baseline="0" dirty="0" smtClean="0"/>
              <a:t> – </a:t>
            </a:r>
            <a:r>
              <a:rPr lang="en-US" baseline="0" dirty="0" err="1" smtClean="0"/>
              <a:t>übe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gesam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zesskette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a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ndlungsfeldern</a:t>
            </a:r>
            <a:endParaRPr lang="en-US" baseline="0" dirty="0" smtClean="0"/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Da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ck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och</a:t>
            </a:r>
            <a:r>
              <a:rPr lang="en-US" baseline="0" dirty="0" smtClean="0"/>
              <a:t> gar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ab: Den </a:t>
            </a:r>
            <a:r>
              <a:rPr lang="en-US" baseline="0" dirty="0" err="1" smtClean="0"/>
              <a:t>Bezug</a:t>
            </a:r>
            <a:r>
              <a:rPr lang="en-US" baseline="0" dirty="0" smtClean="0"/>
              <a:t> von </a:t>
            </a:r>
            <a:r>
              <a:rPr lang="en-US" baseline="0" dirty="0" err="1" smtClean="0"/>
              <a:t>Betriebsmitteln</a:t>
            </a:r>
            <a:r>
              <a:rPr lang="en-US" baseline="0" dirty="0" smtClean="0"/>
              <a:t>. </a:t>
            </a:r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Als</a:t>
            </a:r>
            <a:r>
              <a:rPr lang="en-US" baseline="0" dirty="0" smtClean="0"/>
              <a:t> Farm Management System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</a:t>
            </a:r>
            <a:r>
              <a:rPr lang="en-US" baseline="0" dirty="0" smtClean="0"/>
              <a:t> in der </a:t>
            </a:r>
            <a:r>
              <a:rPr lang="en-US" baseline="0" dirty="0" err="1" smtClean="0"/>
              <a:t>Lage</a:t>
            </a:r>
            <a:r>
              <a:rPr lang="en-US" baseline="0" dirty="0" smtClean="0"/>
              <a:t>, den </a:t>
            </a:r>
            <a:r>
              <a:rPr lang="en-US" baseline="0" dirty="0" err="1" smtClean="0"/>
              <a:t>Bedarf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pezi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triebsmitels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ein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o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tailgra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nn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bsp</a:t>
            </a:r>
            <a:r>
              <a:rPr lang="en-US" baseline="0" dirty="0" smtClean="0"/>
              <a:t>. an Hand der </a:t>
            </a:r>
            <a:r>
              <a:rPr lang="en-US" baseline="0" dirty="0" err="1" smtClean="0"/>
              <a:t>geplan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lä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i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sp</a:t>
            </a:r>
            <a:r>
              <a:rPr lang="en-US" baseline="0" dirty="0" smtClean="0"/>
              <a:t>.</a:t>
            </a:r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e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formatio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ndelshäus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möglich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individuelle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zielgericht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ebo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st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en</a:t>
            </a:r>
            <a:r>
              <a:rPr lang="en-US" baseline="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890209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err="1" smtClean="0"/>
              <a:t>No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l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wickl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ser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undenstruktur</a:t>
            </a:r>
            <a:endParaRPr lang="en-US" baseline="0" dirty="0" smtClean="0"/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Seit</a:t>
            </a:r>
            <a:r>
              <a:rPr lang="en-US" baseline="0" dirty="0" smtClean="0"/>
              <a:t> Launch der Cloud Software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urchschnittlic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jährli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undenzuwachs</a:t>
            </a:r>
            <a:r>
              <a:rPr lang="en-US" baseline="0" dirty="0" smtClean="0"/>
              <a:t> von 123 %</a:t>
            </a:r>
          </a:p>
          <a:p>
            <a:pPr marL="171450" indent="-171450">
              <a:buFontTx/>
              <a:buChar char="-"/>
            </a:pP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se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ös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ck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</a:t>
            </a:r>
            <a:r>
              <a:rPr lang="en-US" baseline="0" dirty="0" smtClean="0"/>
              <a:t> 3,8 Mio </a:t>
            </a:r>
            <a:r>
              <a:rPr lang="en-US" baseline="0" dirty="0" err="1" smtClean="0"/>
              <a:t>Hektar</a:t>
            </a:r>
            <a:r>
              <a:rPr lang="en-US" baseline="0" dirty="0" smtClean="0"/>
              <a:t> in Deutschland ab und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 ca 20.000 </a:t>
            </a:r>
            <a:r>
              <a:rPr lang="en-US" baseline="0" dirty="0" err="1" smtClean="0"/>
              <a:t>aktiv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un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928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8">
            <a:extLst>
              <a:ext uri="{FF2B5EF4-FFF2-40B4-BE49-F238E27FC236}">
                <a16:creationId xmlns:a16="http://schemas.microsoft.com/office/drawing/2014/main" xmlns="" id="{5484853D-7637-3A4B-9CCE-752952AB90C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10438" y="1655596"/>
            <a:ext cx="820826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xmlns="" id="{3BA7B71B-122D-124B-ABE8-04BE9FDFB57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10438" y="2080327"/>
            <a:ext cx="820826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sz="1600" b="0" dirty="0">
                <a:solidFill>
                  <a:srgbClr val="008843"/>
                </a:solidFill>
                <a:latin typeface="Arial" charset="0"/>
                <a:ea typeface="MS PGothic" charset="0"/>
              </a:rPr>
              <a:t>Kapitel Subheadline</a:t>
            </a:r>
            <a:endParaRPr lang="de-DE" dirty="0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xmlns="" id="{F5692030-4749-8D43-B2D5-082DB4B531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834" y="4767263"/>
            <a:ext cx="3338622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Farm Facts GmbH, Abteilung, Verfasser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3585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>
            <a:extLst>
              <a:ext uri="{FF2B5EF4-FFF2-40B4-BE49-F238E27FC236}">
                <a16:creationId xmlns:a16="http://schemas.microsoft.com/office/drawing/2014/main" xmlns="" id="{0E28E9DD-8438-984C-A834-E75C2053421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3730" y="1441558"/>
            <a:ext cx="820826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xmlns="" id="{42A70B54-D1DE-FB47-9C83-BB4DB5099B2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554" y="1872795"/>
            <a:ext cx="8208259" cy="268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solidFill>
                  <a:schemeClr val="accent2"/>
                </a:solidFill>
              </a:defRPr>
            </a:lvl2pPr>
          </a:lstStyle>
          <a:p>
            <a:pPr marL="0" lvl="1" indent="0">
              <a:lnSpc>
                <a:spcPct val="120000"/>
              </a:lnSpc>
              <a:spcAft>
                <a:spcPct val="0"/>
              </a:spcAft>
              <a:buFont typeface="Arial" charset="0"/>
              <a:buNone/>
              <a:defRPr/>
            </a:pPr>
            <a:r>
              <a:rPr lang="de-DE" sz="1600" dirty="0">
                <a:solidFill>
                  <a:srgbClr val="008843"/>
                </a:solidFill>
                <a:latin typeface="Arial" charset="0"/>
                <a:ea typeface="MS PGothic" charset="0"/>
              </a:rPr>
              <a:t>Unterseite Subheadline</a:t>
            </a: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92"/>
          <a:stretch/>
        </p:blipFill>
        <p:spPr>
          <a:xfrm>
            <a:off x="0" y="2357428"/>
            <a:ext cx="9144000" cy="278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7940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7E4913B5-E99D-1043-A569-56E0B6B597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834" y="4767263"/>
            <a:ext cx="3338622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Farm Facts GmbH, Abteilung, Verfasser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" name="Inhaltsplatzhalter 8">
            <a:extLst>
              <a:ext uri="{FF2B5EF4-FFF2-40B4-BE49-F238E27FC236}">
                <a16:creationId xmlns:a16="http://schemas.microsoft.com/office/drawing/2014/main" xmlns="" id="{89774059-9D44-6241-9C09-F567DDE8130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67834" y="1101317"/>
            <a:ext cx="820826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xmlns="" id="{FB3AC952-3C48-6E4C-AB4F-952827074F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7834" y="1518960"/>
            <a:ext cx="820826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sz="1600" b="0" dirty="0">
                <a:solidFill>
                  <a:srgbClr val="008843"/>
                </a:solidFill>
                <a:latin typeface="Arial" charset="0"/>
                <a:ea typeface="MS PGothic" charset="0"/>
              </a:rPr>
              <a:t>Hier steht eine Unter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8795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8">
            <a:extLst>
              <a:ext uri="{FF2B5EF4-FFF2-40B4-BE49-F238E27FC236}">
                <a16:creationId xmlns:a16="http://schemas.microsoft.com/office/drawing/2014/main" xmlns="" id="{46C162B7-001E-F34A-A59C-08F28281A3E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9554" y="1072379"/>
            <a:ext cx="820825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/>
            </a:lvl2pPr>
          </a:lstStyle>
          <a:p>
            <a:pPr marL="0" lvl="1" indent="0">
              <a:spcAft>
                <a:spcPct val="0"/>
              </a:spcAft>
              <a:buFont typeface="Arial" charset="0"/>
              <a:buNone/>
              <a:defRPr/>
            </a:pPr>
            <a:r>
              <a:rPr lang="de-DE" sz="2400" b="1" dirty="0">
                <a:solidFill>
                  <a:srgbClr val="000000"/>
                </a:solidFill>
                <a:latin typeface="Arial" charset="0"/>
                <a:ea typeface="MS PGothic" charset="0"/>
              </a:rPr>
              <a:t>Hier steht eine Headline.</a:t>
            </a:r>
          </a:p>
        </p:txBody>
      </p:sp>
      <p:sp>
        <p:nvSpPr>
          <p:cNvPr id="5" name="Inhaltsplatzhalter 8">
            <a:extLst>
              <a:ext uri="{FF2B5EF4-FFF2-40B4-BE49-F238E27FC236}">
                <a16:creationId xmlns:a16="http://schemas.microsoft.com/office/drawing/2014/main" xmlns="" id="{515DDE7C-ACB0-1C4C-A6D1-AB0DB4791F3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9554" y="1497110"/>
            <a:ext cx="8208259" cy="268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solidFill>
                  <a:schemeClr val="accent3"/>
                </a:solidFill>
              </a:defRPr>
            </a:lvl2pPr>
          </a:lstStyle>
          <a:p>
            <a:pPr marL="0" lvl="1" indent="0">
              <a:lnSpc>
                <a:spcPct val="120000"/>
              </a:lnSpc>
              <a:spcAft>
                <a:spcPct val="0"/>
              </a:spcAft>
              <a:buFont typeface="Arial" charset="0"/>
              <a:buNone/>
              <a:defRPr/>
            </a:pPr>
            <a:r>
              <a:rPr lang="de-DE" sz="1600" dirty="0">
                <a:solidFill>
                  <a:srgbClr val="008843"/>
                </a:solidFill>
                <a:latin typeface="Arial" charset="0"/>
                <a:ea typeface="MS PGothic" charset="0"/>
              </a:rPr>
              <a:t>Unterseite Subheadli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4C753FD0-ED5D-8446-A19A-F71CE384872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738" y="2062715"/>
            <a:ext cx="8207375" cy="2374347"/>
          </a:xfrm>
          <a:prstGeom prst="rect">
            <a:avLst/>
          </a:prstGeom>
        </p:spPr>
        <p:txBody>
          <a:bodyPr lIns="0" tIns="0" rIns="0" bIns="0"/>
          <a:lstStyle>
            <a:lvl1pPr eaLnBrk="1" hangingPunct="1">
              <a:lnSpc>
                <a:spcPct val="120000"/>
              </a:lnSpc>
              <a:spcBef>
                <a:spcPct val="20000"/>
              </a:spcBef>
              <a:buFont typeface="Arial" charset="0"/>
              <a:buAutoNum type="arabicPeriod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hangingPunct="1">
              <a:lnSpc>
                <a:spcPct val="120000"/>
              </a:lnSpc>
              <a:spcBef>
                <a:spcPct val="20000"/>
              </a:spcBef>
              <a:buFont typeface="Arial" charset="0"/>
              <a:buAutoNum type="arabicPeriod"/>
            </a:pPr>
            <a:r>
              <a:rPr lang="de-DE" sz="1200" dirty="0"/>
              <a:t> Inhaltspunkt</a:t>
            </a:r>
          </a:p>
          <a:p>
            <a:pPr eaLnBrk="1" hangingPunct="1">
              <a:lnSpc>
                <a:spcPct val="120000"/>
              </a:lnSpc>
              <a:spcBef>
                <a:spcPct val="20000"/>
              </a:spcBef>
              <a:buFont typeface="Arial" charset="0"/>
              <a:buAutoNum type="arabicPeriod"/>
            </a:pPr>
            <a:r>
              <a:rPr lang="de-DE" sz="1200" dirty="0"/>
              <a:t> Inhaltspunkt</a:t>
            </a:r>
          </a:p>
          <a:p>
            <a:pPr eaLnBrk="1" hangingPunct="1">
              <a:lnSpc>
                <a:spcPct val="120000"/>
              </a:lnSpc>
              <a:spcBef>
                <a:spcPct val="20000"/>
              </a:spcBef>
              <a:buFont typeface="Arial" charset="0"/>
              <a:buAutoNum type="arabicPeriod"/>
            </a:pPr>
            <a:r>
              <a:rPr lang="de-DE" sz="1200" dirty="0"/>
              <a:t> Inhaltspunkt</a:t>
            </a:r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xmlns="" id="{EE73C20C-4697-0F46-AAE6-9453E5F7B3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834" y="4767263"/>
            <a:ext cx="3338622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Farm Facts GmbH, Abteilung, Verfasser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45298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8">
            <a:extLst>
              <a:ext uri="{FF2B5EF4-FFF2-40B4-BE49-F238E27FC236}">
                <a16:creationId xmlns:a16="http://schemas.microsoft.com/office/drawing/2014/main" xmlns="" id="{380889B1-A819-D548-938D-7B12F425712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9554" y="1072379"/>
            <a:ext cx="820825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/>
            </a:lvl2pPr>
          </a:lstStyle>
          <a:p>
            <a:pPr marL="0" lvl="1" indent="0">
              <a:spcAft>
                <a:spcPct val="0"/>
              </a:spcAft>
              <a:buFont typeface="Arial" charset="0"/>
              <a:buNone/>
              <a:defRPr/>
            </a:pPr>
            <a:r>
              <a:rPr lang="de-DE" sz="2400" b="1" dirty="0">
                <a:solidFill>
                  <a:srgbClr val="000000"/>
                </a:solidFill>
                <a:latin typeface="Arial" charset="0"/>
                <a:ea typeface="MS PGothic" charset="0"/>
              </a:rPr>
              <a:t>Hier steht eine Headline.</a:t>
            </a:r>
          </a:p>
        </p:txBody>
      </p:sp>
      <p:sp>
        <p:nvSpPr>
          <p:cNvPr id="3" name="Inhaltsplatzhalter 8">
            <a:extLst>
              <a:ext uri="{FF2B5EF4-FFF2-40B4-BE49-F238E27FC236}">
                <a16:creationId xmlns:a16="http://schemas.microsoft.com/office/drawing/2014/main" xmlns="" id="{23A00B24-6591-AC41-B40E-5550766F823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9554" y="1497110"/>
            <a:ext cx="8208259" cy="268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solidFill>
                  <a:schemeClr val="accent1"/>
                </a:solidFill>
              </a:defRPr>
            </a:lvl2pPr>
          </a:lstStyle>
          <a:p>
            <a:pPr marL="0" lvl="1" indent="0">
              <a:lnSpc>
                <a:spcPct val="120000"/>
              </a:lnSpc>
              <a:spcAft>
                <a:spcPct val="0"/>
              </a:spcAft>
              <a:buFont typeface="Arial" charset="0"/>
              <a:buNone/>
              <a:defRPr/>
            </a:pPr>
            <a:r>
              <a:rPr lang="de-DE" sz="1600" dirty="0">
                <a:solidFill>
                  <a:srgbClr val="008843"/>
                </a:solidFill>
                <a:latin typeface="Arial" charset="0"/>
                <a:ea typeface="MS PGothic" charset="0"/>
              </a:rPr>
              <a:t>Unterseite Subheadline</a:t>
            </a:r>
          </a:p>
        </p:txBody>
      </p:sp>
      <p:sp>
        <p:nvSpPr>
          <p:cNvPr id="4" name="Inhaltsplatzhalter 5">
            <a:extLst>
              <a:ext uri="{FF2B5EF4-FFF2-40B4-BE49-F238E27FC236}">
                <a16:creationId xmlns:a16="http://schemas.microsoft.com/office/drawing/2014/main" xmlns="" id="{11621A05-AED0-4D4C-865D-FEE82CE6BAF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738" y="2062715"/>
            <a:ext cx="8207375" cy="2374347"/>
          </a:xfrm>
          <a:prstGeom prst="rect">
            <a:avLst/>
          </a:prstGeom>
        </p:spPr>
        <p:txBody>
          <a:bodyPr lIns="0" tIns="0" rIns="0" bIns="0"/>
          <a:lstStyle>
            <a:lvl1pPr marL="0" indent="-176400" eaLnBrk="1" hangingPunct="1">
              <a:lnSpc>
                <a:spcPct val="110000"/>
              </a:lnSpc>
              <a:spcBef>
                <a:spcPct val="20000"/>
              </a:spcBef>
              <a:spcAft>
                <a:spcPts val="500"/>
              </a:spcAft>
              <a:buFont typeface="Wingdings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lnSpc>
                <a:spcPct val="120000"/>
              </a:lnSpc>
              <a:buFont typeface="Arial"/>
              <a:buNone/>
              <a:defRPr/>
            </a:pP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Bus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dun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.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Accu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. Mus nos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ihite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xpel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et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ari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omnitiam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e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dolo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maio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asperci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nienihi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velectatur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quodi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xerfer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ciaerum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obi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di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u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fugi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s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cu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arundi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modicia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ate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rem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con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plau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xerunten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fugita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um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a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mincienia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cu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um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quatiusdae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audi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quia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e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d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u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maximil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bernatur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?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Quiatii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dem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n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a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sundel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lla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ncture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peruptamu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u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ectemp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orrovid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quo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blabo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.</a:t>
            </a:r>
          </a:p>
          <a:p>
            <a:pPr marL="0" indent="-176400">
              <a:lnSpc>
                <a:spcPct val="200000"/>
              </a:lnSpc>
              <a:spcAft>
                <a:spcPts val="500"/>
              </a:spcAft>
              <a:buFont typeface="Wingdings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Aufzählungszeichen</a:t>
            </a:r>
          </a:p>
          <a:p>
            <a:pPr marL="0" indent="-176400">
              <a:lnSpc>
                <a:spcPct val="110000"/>
              </a:lnSpc>
              <a:spcAft>
                <a:spcPts val="500"/>
              </a:spcAft>
              <a:buFont typeface="Wingdings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Aufzählungszeichen</a:t>
            </a:r>
          </a:p>
          <a:p>
            <a:pPr marL="0" indent="-176400">
              <a:lnSpc>
                <a:spcPct val="110000"/>
              </a:lnSpc>
              <a:spcAft>
                <a:spcPts val="500"/>
              </a:spcAft>
              <a:buFont typeface="Wingdings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Aufzählungszeichen</a:t>
            </a:r>
            <a:endParaRPr lang="de-DE" sz="1200" dirty="0"/>
          </a:p>
        </p:txBody>
      </p:sp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xmlns="" id="{EBE1AFD7-883D-8F49-B4DB-7AC7ED5FB4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834" y="4767263"/>
            <a:ext cx="3338622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Farm Facts GmbH, Abteilung, Verfasser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7141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8">
            <a:extLst>
              <a:ext uri="{FF2B5EF4-FFF2-40B4-BE49-F238E27FC236}">
                <a16:creationId xmlns:a16="http://schemas.microsoft.com/office/drawing/2014/main" xmlns="" id="{380889B1-A819-D548-938D-7B12F425712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9554" y="1072379"/>
            <a:ext cx="820825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/>
            </a:lvl2pPr>
          </a:lstStyle>
          <a:p>
            <a:pPr marL="0" lvl="1" indent="0">
              <a:spcAft>
                <a:spcPct val="0"/>
              </a:spcAft>
              <a:buFont typeface="Arial" charset="0"/>
              <a:buNone/>
              <a:defRPr/>
            </a:pPr>
            <a:r>
              <a:rPr lang="de-DE" sz="2400" b="1" dirty="0">
                <a:solidFill>
                  <a:srgbClr val="000000"/>
                </a:solidFill>
                <a:latin typeface="Arial" charset="0"/>
                <a:ea typeface="MS PGothic" charset="0"/>
              </a:rPr>
              <a:t>Hier steht eine Headline.</a:t>
            </a:r>
          </a:p>
        </p:txBody>
      </p:sp>
      <p:sp>
        <p:nvSpPr>
          <p:cNvPr id="3" name="Inhaltsplatzhalter 8">
            <a:extLst>
              <a:ext uri="{FF2B5EF4-FFF2-40B4-BE49-F238E27FC236}">
                <a16:creationId xmlns:a16="http://schemas.microsoft.com/office/drawing/2014/main" xmlns="" id="{23A00B24-6591-AC41-B40E-5550766F823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9554" y="1497110"/>
            <a:ext cx="8208259" cy="268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solidFill>
                  <a:schemeClr val="accent3"/>
                </a:solidFill>
              </a:defRPr>
            </a:lvl2pPr>
          </a:lstStyle>
          <a:p>
            <a:pPr marL="0" lvl="1" indent="0">
              <a:lnSpc>
                <a:spcPct val="120000"/>
              </a:lnSpc>
              <a:spcAft>
                <a:spcPct val="0"/>
              </a:spcAft>
              <a:buFont typeface="Arial" charset="0"/>
              <a:buNone/>
              <a:defRPr/>
            </a:pPr>
            <a:r>
              <a:rPr lang="de-DE" sz="1600" dirty="0">
                <a:solidFill>
                  <a:srgbClr val="008843"/>
                </a:solidFill>
                <a:latin typeface="Arial" charset="0"/>
                <a:ea typeface="MS PGothic" charset="0"/>
              </a:rPr>
              <a:t>Unterseite Subheadline</a:t>
            </a:r>
          </a:p>
        </p:txBody>
      </p:sp>
      <p:sp>
        <p:nvSpPr>
          <p:cNvPr id="4" name="Inhaltsplatzhalter 5">
            <a:extLst>
              <a:ext uri="{FF2B5EF4-FFF2-40B4-BE49-F238E27FC236}">
                <a16:creationId xmlns:a16="http://schemas.microsoft.com/office/drawing/2014/main" xmlns="" id="{11621A05-AED0-4D4C-865D-FEE82CE6BAF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739" y="1964419"/>
            <a:ext cx="3664428" cy="247264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500"/>
              </a:spcAft>
              <a:buClrTx/>
              <a:buSzTx/>
              <a:buFont typeface="Arial"/>
              <a:buNone/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500"/>
              </a:spcAft>
              <a:buClrTx/>
              <a:buSzTx/>
              <a:buFont typeface="Arial"/>
              <a:buNone/>
              <a:tabLst/>
              <a:defRPr/>
            </a:pP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Bus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dun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.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Accu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. Mus nos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ihite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xpel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et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ari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omnitiam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e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dolo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maio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asperci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nienihi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velectatur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quodi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xerfer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ciaerum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nobi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di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u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fugi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es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cu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arundi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modicias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d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ut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maximil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  <a:cs typeface="Arial"/>
              </a:rPr>
              <a:t>ibernatur</a:t>
            </a: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? </a:t>
            </a:r>
          </a:p>
          <a:p>
            <a:pPr marL="0" indent="-176400">
              <a:lnSpc>
                <a:spcPct val="200000"/>
              </a:lnSpc>
              <a:spcAft>
                <a:spcPts val="500"/>
              </a:spcAft>
              <a:buFont typeface="Wingdings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Aufzählungszeichen</a:t>
            </a:r>
          </a:p>
          <a:p>
            <a:pPr marL="0" indent="-176400">
              <a:lnSpc>
                <a:spcPct val="110000"/>
              </a:lnSpc>
              <a:spcAft>
                <a:spcPts val="500"/>
              </a:spcAft>
              <a:buFont typeface="Wingdings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Aufzählungszeichen</a:t>
            </a:r>
          </a:p>
          <a:p>
            <a:pPr marL="0" indent="-176400">
              <a:lnSpc>
                <a:spcPct val="110000"/>
              </a:lnSpc>
              <a:spcAft>
                <a:spcPts val="500"/>
              </a:spcAft>
              <a:buFont typeface="Wingdings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  <a:latin typeface="Arial"/>
                <a:cs typeface="Arial"/>
              </a:rPr>
              <a:t>Aufzählungszeichen</a:t>
            </a:r>
            <a:endParaRPr lang="de-DE" sz="1200" dirty="0"/>
          </a:p>
        </p:txBody>
      </p:sp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xmlns="" id="{EBE1AFD7-883D-8F49-B4DB-7AC7ED5FB4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834" y="4767263"/>
            <a:ext cx="3338622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Farm Facts GmbH, Abteilung, Verfasser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65051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F7F42DBB-6521-5E4B-B75C-265C41FC242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60375" y="2062716"/>
            <a:ext cx="8237058" cy="2210834"/>
          </a:xfrm>
          <a:prstGeom prst="rect">
            <a:avLst/>
          </a:prstGeom>
        </p:spPr>
        <p:txBody>
          <a:bodyPr lIns="0" tIns="0" rIns="0" bIns="0" numCol="2"/>
          <a:lstStyle>
            <a:lvl1pPr marL="342900"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/>
            </a:lvl2pPr>
          </a:lstStyle>
          <a:p>
            <a:pPr indent="-176213">
              <a:lnSpc>
                <a:spcPct val="12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Aufzählungszeichen 1</a:t>
            </a:r>
          </a:p>
          <a:p>
            <a:pPr lvl="1" indent="-176213">
              <a:lnSpc>
                <a:spcPct val="12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Erster Unterpunkt</a:t>
            </a:r>
          </a:p>
          <a:p>
            <a:pPr lvl="1" indent="-176213">
              <a:lnSpc>
                <a:spcPct val="12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Zweiter Unterpunkt</a:t>
            </a:r>
          </a:p>
          <a:p>
            <a:pPr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Aufzählungszeichen 2</a:t>
            </a:r>
          </a:p>
          <a:p>
            <a:pPr lvl="1"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Erster Unterpunkt</a:t>
            </a:r>
          </a:p>
          <a:p>
            <a:pPr lvl="1"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Zweiter Unterpunkt</a:t>
            </a:r>
          </a:p>
          <a:p>
            <a:pPr lvl="1"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Dritter Unterpunkt</a:t>
            </a:r>
          </a:p>
          <a:p>
            <a:pPr lvl="1"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endParaRPr lang="de-DE" sz="1200" dirty="0">
              <a:solidFill>
                <a:srgbClr val="000000"/>
              </a:solidFill>
            </a:endParaRPr>
          </a:p>
          <a:p>
            <a:pPr indent="-176213">
              <a:lnSpc>
                <a:spcPct val="12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Aufzählungszeichen 3</a:t>
            </a:r>
          </a:p>
          <a:p>
            <a:pPr lvl="1" indent="-176213">
              <a:lnSpc>
                <a:spcPct val="12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Erster Unterpunkt</a:t>
            </a:r>
          </a:p>
          <a:p>
            <a:pPr lvl="1" indent="-176213">
              <a:lnSpc>
                <a:spcPct val="12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Zweiter Unterpunkt</a:t>
            </a:r>
          </a:p>
          <a:p>
            <a:pPr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Aufzählungszeichen 4</a:t>
            </a:r>
          </a:p>
          <a:p>
            <a:pPr lvl="1"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Erster Unterpunkt</a:t>
            </a:r>
          </a:p>
          <a:p>
            <a:pPr lvl="1"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Zweiter Unterpunkt</a:t>
            </a:r>
          </a:p>
          <a:p>
            <a:pPr lvl="1"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Dritter Unterpunkt</a:t>
            </a:r>
          </a:p>
          <a:p>
            <a:pPr lvl="1" indent="-176213">
              <a:lnSpc>
                <a:spcPct val="110000"/>
              </a:lnSpc>
              <a:spcAft>
                <a:spcPts val="500"/>
              </a:spcAft>
              <a:buFont typeface="Wingdings" charset="0"/>
              <a:buChar char="§"/>
            </a:pP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xmlns="" id="{527DA93F-A202-AD4F-93EC-FF773D7B6B3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9554" y="1072379"/>
            <a:ext cx="820825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/>
            </a:lvl2pPr>
          </a:lstStyle>
          <a:p>
            <a:pPr marL="0" lvl="1" indent="0">
              <a:spcAft>
                <a:spcPct val="0"/>
              </a:spcAft>
              <a:buFont typeface="Arial" charset="0"/>
              <a:buNone/>
              <a:defRPr/>
            </a:pPr>
            <a:r>
              <a:rPr lang="de-DE" sz="2400" b="1" dirty="0">
                <a:solidFill>
                  <a:srgbClr val="000000"/>
                </a:solidFill>
                <a:latin typeface="Arial" charset="0"/>
                <a:ea typeface="MS PGothic" charset="0"/>
              </a:rPr>
              <a:t>Hier steht eine Headline.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xmlns="" id="{1D9E1D66-D02C-8C44-953C-7B665C9875B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554" y="1490022"/>
            <a:ext cx="8208259" cy="268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solidFill>
                  <a:schemeClr val="accent2"/>
                </a:solidFill>
              </a:defRPr>
            </a:lvl2pPr>
          </a:lstStyle>
          <a:p>
            <a:pPr marL="0" lvl="1" indent="0">
              <a:lnSpc>
                <a:spcPct val="120000"/>
              </a:lnSpc>
              <a:spcAft>
                <a:spcPct val="0"/>
              </a:spcAft>
              <a:buFont typeface="Arial" charset="0"/>
              <a:buNone/>
              <a:defRPr/>
            </a:pPr>
            <a:r>
              <a:rPr lang="de-DE" sz="1600" dirty="0">
                <a:solidFill>
                  <a:srgbClr val="008843"/>
                </a:solidFill>
                <a:latin typeface="Arial" charset="0"/>
                <a:ea typeface="MS PGothic" charset="0"/>
              </a:rPr>
              <a:t>Unterseite Subheadline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xmlns="" id="{6C921BF7-7B3C-F54B-84B2-BB4A2D7484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834" y="4767263"/>
            <a:ext cx="3338622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Farm Facts GmbH, Abteilung, Verfasser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71095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AC0585C-BD9E-48BC-BB0B-555012CC7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1BFF64E-3041-46A0-9DB0-62339F1518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65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0813" y="114306"/>
            <a:ext cx="7092000" cy="7834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6075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BFEEEB4E-E3D9-4CFC-AFA9-B01999C104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0813" y="114306"/>
            <a:ext cx="7092000" cy="7834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69236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>
            <a:extLst>
              <a:ext uri="{FF2B5EF4-FFF2-40B4-BE49-F238E27FC236}">
                <a16:creationId xmlns:a16="http://schemas.microsoft.com/office/drawing/2014/main" xmlns="" id="{0E28E9DD-8438-984C-A834-E75C2053421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3730" y="1441558"/>
            <a:ext cx="820826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xmlns="" id="{42A70B54-D1DE-FB47-9C83-BB4DB5099B2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9554" y="1872795"/>
            <a:ext cx="8208259" cy="268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solidFill>
                  <a:schemeClr val="accent2"/>
                </a:solidFill>
              </a:defRPr>
            </a:lvl2pPr>
          </a:lstStyle>
          <a:p>
            <a:pPr marL="0" lvl="1" indent="0">
              <a:lnSpc>
                <a:spcPct val="120000"/>
              </a:lnSpc>
              <a:spcAft>
                <a:spcPct val="0"/>
              </a:spcAft>
              <a:buFont typeface="Arial" charset="0"/>
              <a:buNone/>
              <a:defRPr/>
            </a:pPr>
            <a:r>
              <a:rPr lang="de-DE" sz="1600" dirty="0">
                <a:solidFill>
                  <a:srgbClr val="008843"/>
                </a:solidFill>
                <a:latin typeface="Arial" charset="0"/>
                <a:ea typeface="MS PGothic" charset="0"/>
              </a:rPr>
              <a:t>Unterseite Subheadline</a:t>
            </a: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92"/>
          <a:stretch/>
        </p:blipFill>
        <p:spPr>
          <a:xfrm>
            <a:off x="0" y="2357428"/>
            <a:ext cx="9144000" cy="278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239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8">
            <a:extLst>
              <a:ext uri="{FF2B5EF4-FFF2-40B4-BE49-F238E27FC236}">
                <a16:creationId xmlns:a16="http://schemas.microsoft.com/office/drawing/2014/main" xmlns="" id="{683884E1-8ED9-6840-8460-667169B865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3730" y="1733866"/>
            <a:ext cx="820826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sz="2400" dirty="0">
                <a:latin typeface="Arial" charset="0"/>
                <a:ea typeface="MS PGothic" charset="0"/>
              </a:rPr>
              <a:t>Vielen Dank für die Aufmerksamkeit!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92"/>
          <a:stretch/>
        </p:blipFill>
        <p:spPr>
          <a:xfrm>
            <a:off x="0" y="2357428"/>
            <a:ext cx="9144000" cy="278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9028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" descr="BayWa_FarmFacts_Logo_RGB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325" y="231775"/>
            <a:ext cx="2368550" cy="92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hteck 12"/>
          <p:cNvSpPr/>
          <p:nvPr userDrawn="1"/>
        </p:nvSpPr>
        <p:spPr>
          <a:xfrm>
            <a:off x="0" y="4676775"/>
            <a:ext cx="9144000" cy="466725"/>
          </a:xfrm>
          <a:prstGeom prst="rect">
            <a:avLst/>
          </a:prstGeom>
          <a:solidFill>
            <a:srgbClr val="0088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 err="1"/>
          </a:p>
        </p:txBody>
      </p:sp>
      <p:sp>
        <p:nvSpPr>
          <p:cNvPr id="15" name="Textplatzhalter 1"/>
          <p:cNvSpPr txBox="1">
            <a:spLocks/>
          </p:cNvSpPr>
          <p:nvPr userDrawn="1"/>
        </p:nvSpPr>
        <p:spPr>
          <a:xfrm>
            <a:off x="6737350" y="4845050"/>
            <a:ext cx="879475" cy="122238"/>
          </a:xfrm>
          <a:prstGeom prst="rect">
            <a:avLst/>
          </a:prstGeom>
        </p:spPr>
        <p:txBody>
          <a:bodyPr lIns="54000" tIns="0" rIns="0" bIns="0" anchor="b">
            <a:spAutoFit/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>
              <a:defRPr/>
            </a:pPr>
            <a:fld id="{78BE8CC8-47A5-A448-BE3E-34139828086E}" type="datetime1">
              <a:rPr lang="de-DE" sz="800" smtClean="0">
                <a:solidFill>
                  <a:srgbClr val="FFFFFF"/>
                </a:solidFill>
                <a:latin typeface="Arial"/>
                <a:cs typeface="Arial"/>
              </a:rPr>
              <a:t>09.09.2019</a:t>
            </a:fld>
            <a:endParaRPr lang="en-US" sz="8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6" name="Textplatzhalter 1"/>
          <p:cNvSpPr txBox="1">
            <a:spLocks/>
          </p:cNvSpPr>
          <p:nvPr userDrawn="1"/>
        </p:nvSpPr>
        <p:spPr>
          <a:xfrm>
            <a:off x="8108950" y="4845050"/>
            <a:ext cx="571500" cy="122238"/>
          </a:xfrm>
          <a:prstGeom prst="rect">
            <a:avLst/>
          </a:prstGeom>
        </p:spPr>
        <p:txBody>
          <a:bodyPr lIns="54000" tIns="0" rIns="0" bIns="0" anchor="b">
            <a:spAutoFit/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r">
              <a:defRPr/>
            </a:pPr>
            <a:r>
              <a:rPr lang="en-US" sz="800" dirty="0" err="1">
                <a:solidFill>
                  <a:srgbClr val="FFFFFF"/>
                </a:solidFill>
                <a:latin typeface="Arial"/>
                <a:cs typeface="Arial"/>
              </a:rPr>
              <a:t>Seite</a:t>
            </a:r>
            <a:r>
              <a:rPr lang="en-US" sz="8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fld id="{86817999-8704-8E4B-8D5A-C7B3431C32E5}" type="slidenum">
              <a:rPr lang="en-US" sz="800" smtClean="0">
                <a:solidFill>
                  <a:srgbClr val="FFFFFF"/>
                </a:solidFill>
                <a:latin typeface="Arial"/>
                <a:cs typeface="Arial"/>
              </a:rPr>
              <a:pPr algn="r">
                <a:defRPr/>
              </a:pPr>
              <a:t>‹Nr.›</a:t>
            </a:fld>
            <a:endParaRPr lang="en-US" sz="8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0BD9C878-D6A6-DD41-BD75-204B63452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834" y="4767263"/>
            <a:ext cx="3338622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Farm Facts GmbH, Abteilung, Verfasser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8434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49" r:id="rId3"/>
    <p:sldLayoutId id="2147483678" r:id="rId4"/>
    <p:sldLayoutId id="2147483665" r:id="rId5"/>
    <p:sldLayoutId id="2147483679" r:id="rId6"/>
    <p:sldLayoutId id="2147483680" r:id="rId7"/>
    <p:sldLayoutId id="2147483681" r:id="rId8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1" descr="BayWa_FarmFacts_Logo_RGB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325" y="231775"/>
            <a:ext cx="2368550" cy="92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2530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92"/>
          <a:stretch/>
        </p:blipFill>
        <p:spPr>
          <a:xfrm>
            <a:off x="0" y="2357428"/>
            <a:ext cx="9144000" cy="2786072"/>
          </a:xfrm>
          <a:prstGeom prst="rect">
            <a:avLst/>
          </a:prstGeom>
        </p:spPr>
      </p:pic>
      <p:pic>
        <p:nvPicPr>
          <p:cNvPr id="7" name="Bild 1" descr="BayWa_FarmFacts_Logo_RGB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325" y="231775"/>
            <a:ext cx="2368550" cy="92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 userDrawn="1"/>
        </p:nvSpPr>
        <p:spPr>
          <a:xfrm>
            <a:off x="0" y="4676775"/>
            <a:ext cx="9144000" cy="466725"/>
          </a:xfrm>
          <a:prstGeom prst="rect">
            <a:avLst/>
          </a:prstGeom>
          <a:solidFill>
            <a:srgbClr val="0088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 err="1"/>
          </a:p>
        </p:txBody>
      </p:sp>
      <p:sp>
        <p:nvSpPr>
          <p:cNvPr id="10" name="Textplatzhalter 1"/>
          <p:cNvSpPr txBox="1">
            <a:spLocks/>
          </p:cNvSpPr>
          <p:nvPr userDrawn="1"/>
        </p:nvSpPr>
        <p:spPr>
          <a:xfrm>
            <a:off x="6737350" y="4845050"/>
            <a:ext cx="879475" cy="122238"/>
          </a:xfrm>
          <a:prstGeom prst="rect">
            <a:avLst/>
          </a:prstGeom>
        </p:spPr>
        <p:txBody>
          <a:bodyPr lIns="54000" tIns="0" rIns="0" bIns="0" anchor="b">
            <a:spAutoFit/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>
              <a:defRPr/>
            </a:pPr>
            <a:fld id="{419DCC00-2BDF-8449-B8CE-6B3C855DF6CF}" type="datetime1">
              <a:rPr lang="de-DE" sz="800" smtClean="0">
                <a:solidFill>
                  <a:srgbClr val="FFFFFF"/>
                </a:solidFill>
                <a:latin typeface="Arial"/>
                <a:cs typeface="Arial"/>
              </a:rPr>
              <a:t>09.09.2019</a:t>
            </a:fld>
            <a:endParaRPr lang="en-US" sz="8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platzhalter 1"/>
          <p:cNvSpPr txBox="1">
            <a:spLocks/>
          </p:cNvSpPr>
          <p:nvPr userDrawn="1"/>
        </p:nvSpPr>
        <p:spPr>
          <a:xfrm>
            <a:off x="8108950" y="4845050"/>
            <a:ext cx="571500" cy="122238"/>
          </a:xfrm>
          <a:prstGeom prst="rect">
            <a:avLst/>
          </a:prstGeom>
        </p:spPr>
        <p:txBody>
          <a:bodyPr lIns="54000" tIns="0" rIns="0" bIns="0" anchor="b">
            <a:spAutoFit/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r">
              <a:defRPr/>
            </a:pPr>
            <a:r>
              <a:rPr lang="en-US" sz="800" dirty="0" err="1">
                <a:solidFill>
                  <a:srgbClr val="FFFFFF"/>
                </a:solidFill>
                <a:latin typeface="Arial"/>
                <a:cs typeface="Arial"/>
              </a:rPr>
              <a:t>Seite</a:t>
            </a:r>
            <a:r>
              <a:rPr lang="en-US" sz="8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fld id="{86817999-8704-8E4B-8D5A-C7B3431C32E5}" type="slidenum">
              <a:rPr lang="en-US" sz="800" smtClean="0">
                <a:solidFill>
                  <a:srgbClr val="FFFFFF"/>
                </a:solidFill>
                <a:latin typeface="Arial"/>
                <a:cs typeface="Arial"/>
              </a:rPr>
              <a:pPr algn="r">
                <a:defRPr/>
              </a:pPr>
              <a:t>‹Nr.›</a:t>
            </a:fld>
            <a:endParaRPr lang="en-US" sz="8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xmlns="" id="{BA871B58-8517-2348-8F0C-CD2C4761EF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834" y="4767263"/>
            <a:ext cx="3338622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Farm Facts GmbH, Abteilung, Verfasser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089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image" Target="../media/image5.jpg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mein.nextfarming.de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2.pn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tags" Target="../tags/tag5.xml"/><Relationship Id="rId21" Type="http://schemas.openxmlformats.org/officeDocument/2006/relationships/image" Target="../media/image28.png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17" Type="http://schemas.openxmlformats.org/officeDocument/2006/relationships/image" Target="../media/image16.emf"/><Relationship Id="rId25" Type="http://schemas.openxmlformats.org/officeDocument/2006/relationships/image" Target="../media/image32.wmf"/><Relationship Id="rId2" Type="http://schemas.openxmlformats.org/officeDocument/2006/relationships/tags" Target="../tags/tag4.xml"/><Relationship Id="rId16" Type="http://schemas.openxmlformats.org/officeDocument/2006/relationships/oleObject" Target="../embeddings/oleObject3.bin"/><Relationship Id="rId20" Type="http://schemas.openxmlformats.org/officeDocument/2006/relationships/image" Target="../media/image27.jpeg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20.png"/><Relationship Id="rId24" Type="http://schemas.openxmlformats.org/officeDocument/2006/relationships/image" Target="../media/image31.jpeg"/><Relationship Id="rId5" Type="http://schemas.openxmlformats.org/officeDocument/2006/relationships/slideLayout" Target="../slideLayouts/slideLayout4.xml"/><Relationship Id="rId15" Type="http://schemas.openxmlformats.org/officeDocument/2006/relationships/image" Target="../media/image24.png"/><Relationship Id="rId23" Type="http://schemas.openxmlformats.org/officeDocument/2006/relationships/image" Target="../media/image30.jpeg"/><Relationship Id="rId10" Type="http://schemas.microsoft.com/office/2007/relationships/hdphoto" Target="../media/hdphoto1.wdp"/><Relationship Id="rId19" Type="http://schemas.openxmlformats.org/officeDocument/2006/relationships/image" Target="../media/image26.jpeg"/><Relationship Id="rId4" Type="http://schemas.openxmlformats.org/officeDocument/2006/relationships/tags" Target="../tags/tag6.xml"/><Relationship Id="rId9" Type="http://schemas.openxmlformats.org/officeDocument/2006/relationships/image" Target="../media/image19.png"/><Relationship Id="rId14" Type="http://schemas.openxmlformats.org/officeDocument/2006/relationships/image" Target="../media/image23.png"/><Relationship Id="rId22" Type="http://schemas.openxmlformats.org/officeDocument/2006/relationships/image" Target="../media/image2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12" Type="http://schemas.openxmlformats.org/officeDocument/2006/relationships/image" Target="../media/image38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41.jpeg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0.xml"/><Relationship Id="rId7" Type="http://schemas.openxmlformats.org/officeDocument/2006/relationships/notesSlide" Target="../notesSlides/notesSlide8.xml"/><Relationship Id="rId12" Type="http://schemas.microsoft.com/office/2007/relationships/hdphoto" Target="../media/hdphoto2.wdp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42.png"/><Relationship Id="rId5" Type="http://schemas.openxmlformats.org/officeDocument/2006/relationships/tags" Target="../tags/tag12.xml"/><Relationship Id="rId10" Type="http://schemas.openxmlformats.org/officeDocument/2006/relationships/chart" Target="../charts/chart1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4448092"/>
            <a:ext cx="2130425" cy="457200"/>
          </a:xfrm>
          <a:prstGeom prst="rect">
            <a:avLst/>
          </a:prstGeom>
          <a:solidFill>
            <a:srgbClr val="0088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 err="1"/>
          </a:p>
        </p:txBody>
      </p:sp>
      <p:sp>
        <p:nvSpPr>
          <p:cNvPr id="3" name="Textplatzhalter 1"/>
          <p:cNvSpPr txBox="1">
            <a:spLocks/>
          </p:cNvSpPr>
          <p:nvPr/>
        </p:nvSpPr>
        <p:spPr bwMode="auto">
          <a:xfrm>
            <a:off x="369888" y="4554454"/>
            <a:ext cx="1789112" cy="26752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de-DE" sz="1000" b="1" dirty="0" smtClean="0">
                <a:solidFill>
                  <a:schemeClr val="bg1"/>
                </a:solidFill>
                <a:latin typeface="Arial" charset="0"/>
                <a:ea typeface="MS PGothic" charset="0"/>
                <a:cs typeface="MS PGothic" charset="0"/>
              </a:rPr>
              <a:t>Einbeck, 09.09.2019</a:t>
            </a:r>
            <a:endParaRPr lang="de-DE" sz="1000" b="1" dirty="0">
              <a:solidFill>
                <a:schemeClr val="bg1"/>
              </a:solidFill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DE8F6325-C3B3-EC41-A2EB-347FD0DDC4B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FarmFacts.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F298BB30-6C2C-C04A-AD1E-1E27A4C9A85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9554" y="1872795"/>
            <a:ext cx="8208259" cy="246221"/>
          </a:xfrm>
        </p:spPr>
        <p:txBody>
          <a:bodyPr/>
          <a:lstStyle/>
          <a:p>
            <a:r>
              <a:rPr lang="de-DE" b="0" dirty="0" smtClean="0">
                <a:solidFill>
                  <a:schemeClr val="accent2"/>
                </a:solidFill>
              </a:rPr>
              <a:t>Der Partner </a:t>
            </a:r>
            <a:r>
              <a:rPr lang="de-DE" b="0" dirty="0">
                <a:solidFill>
                  <a:schemeClr val="accent2"/>
                </a:solidFill>
              </a:rPr>
              <a:t>für umfassende Digital Farming Lösungen.</a:t>
            </a:r>
          </a:p>
        </p:txBody>
      </p:sp>
    </p:spTree>
    <p:extLst>
      <p:ext uri="{BB962C8B-B14F-4D97-AF65-F5344CB8AC3E}">
        <p14:creationId xmlns:p14="http://schemas.microsoft.com/office/powerpoint/2010/main" val="509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4448092"/>
            <a:ext cx="2130425" cy="457200"/>
          </a:xfrm>
          <a:prstGeom prst="rect">
            <a:avLst/>
          </a:prstGeom>
          <a:solidFill>
            <a:srgbClr val="0088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 err="1"/>
          </a:p>
        </p:txBody>
      </p:sp>
      <p:sp>
        <p:nvSpPr>
          <p:cNvPr id="3" name="Textplatzhalter 1"/>
          <p:cNvSpPr txBox="1">
            <a:spLocks/>
          </p:cNvSpPr>
          <p:nvPr/>
        </p:nvSpPr>
        <p:spPr bwMode="auto">
          <a:xfrm>
            <a:off x="369888" y="4554454"/>
            <a:ext cx="1789112" cy="26752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de-DE" sz="1000" b="1" dirty="0" smtClean="0">
                <a:solidFill>
                  <a:schemeClr val="bg1"/>
                </a:solidFill>
                <a:latin typeface="Arial" charset="0"/>
                <a:ea typeface="MS PGothic" charset="0"/>
                <a:cs typeface="MS PGothic" charset="0"/>
              </a:rPr>
              <a:t>Einbeck, 09.09.2019</a:t>
            </a:r>
            <a:endParaRPr lang="de-DE" sz="1000" b="1" dirty="0">
              <a:solidFill>
                <a:schemeClr val="bg1"/>
              </a:solidFill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F298BB30-6C2C-C04A-AD1E-1E27A4C9A85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9554" y="1872795"/>
            <a:ext cx="8208259" cy="246221"/>
          </a:xfrm>
        </p:spPr>
        <p:txBody>
          <a:bodyPr/>
          <a:lstStyle/>
          <a:p>
            <a:r>
              <a:rPr lang="de-DE" b="0" dirty="0" smtClean="0">
                <a:solidFill>
                  <a:schemeClr val="accent2"/>
                </a:solidFill>
              </a:rPr>
              <a:t>Noch Fragen?</a:t>
            </a:r>
            <a:endParaRPr lang="de-DE" b="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75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>
          <a:xfrm>
            <a:off x="460375" y="1133061"/>
            <a:ext cx="8237058" cy="3140489"/>
          </a:xfrm>
        </p:spPr>
        <p:txBody>
          <a:bodyPr/>
          <a:lstStyle/>
          <a:p>
            <a:pPr marL="166687" indent="0">
              <a:buNone/>
            </a:pPr>
            <a:r>
              <a:rPr lang="de-DE" dirty="0" smtClean="0"/>
              <a:t>Vertrieb über Händler (einstufig)</a:t>
            </a:r>
          </a:p>
          <a:p>
            <a:pPr marL="166687" indent="0">
              <a:buNone/>
            </a:pP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KWS prüft Voraussetzungen</a:t>
            </a:r>
          </a:p>
          <a:p>
            <a:pPr marL="166687" indent="0">
              <a:buNone/>
            </a:pP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Vertrieb über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groMais</a:t>
            </a:r>
            <a:endParaRPr lang="de-DE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6687" indent="0">
              <a:buNone/>
            </a:pPr>
            <a:r>
              <a:rPr lang="de-DE" dirty="0" smtClean="0"/>
              <a:t>Partnerschaften interessant -&gt; </a:t>
            </a:r>
            <a:r>
              <a:rPr lang="de-DE" dirty="0" err="1" smtClean="0"/>
              <a:t>Querverlinkung</a:t>
            </a:r>
            <a:r>
              <a:rPr lang="de-DE" dirty="0"/>
              <a:t> </a:t>
            </a:r>
            <a:r>
              <a:rPr lang="de-DE" dirty="0" smtClean="0"/>
              <a:t>ist gewollt</a:t>
            </a:r>
          </a:p>
          <a:p>
            <a:pPr marL="166687" indent="0">
              <a:buNone/>
            </a:pP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odul muss aber die gleichen Voraussetzungen haben, wie die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ultivent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Funktion</a:t>
            </a:r>
          </a:p>
          <a:p>
            <a:pPr>
              <a:buFontTx/>
              <a:buChar char="-"/>
            </a:pPr>
            <a:r>
              <a:rPr lang="de-DE" dirty="0" smtClean="0"/>
              <a:t>DBE</a:t>
            </a:r>
          </a:p>
          <a:p>
            <a:pPr>
              <a:buFontTx/>
              <a:buChar char="-"/>
            </a:pPr>
            <a:r>
              <a:rPr lang="de-DE" dirty="0" smtClean="0"/>
              <a:t>AKC</a:t>
            </a:r>
          </a:p>
          <a:p>
            <a:pPr>
              <a:buFontTx/>
              <a:buChar char="-"/>
            </a:pP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ro Features</a:t>
            </a:r>
          </a:p>
          <a:p>
            <a:pPr>
              <a:buFontTx/>
              <a:buChar char="-"/>
            </a:pPr>
            <a:r>
              <a:rPr lang="de-DE" smtClean="0"/>
              <a:t>Bodenproben</a:t>
            </a:r>
            <a:endParaRPr lang="de-DE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t>Farm Facts GmbH, Abteilung, Verfasser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8780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5" y="-1755432"/>
            <a:ext cx="9152440" cy="7567542"/>
          </a:xfrm>
          <a:prstGeom prst="rect">
            <a:avLst/>
          </a:prstGeom>
        </p:spPr>
      </p:pic>
      <p:sp>
        <p:nvSpPr>
          <p:cNvPr id="6" name="Titel 1"/>
          <p:cNvSpPr txBox="1">
            <a:spLocks/>
          </p:cNvSpPr>
          <p:nvPr/>
        </p:nvSpPr>
        <p:spPr bwMode="auto">
          <a:xfrm>
            <a:off x="310830" y="114306"/>
            <a:ext cx="8693469" cy="783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Aft>
                <a:spcPts val="0"/>
              </a:spcAft>
            </a:pPr>
            <a:r>
              <a:rPr lang="de-DE" sz="1800" dirty="0" smtClean="0">
                <a:solidFill>
                  <a:schemeClr val="bg1"/>
                </a:solidFill>
              </a:rPr>
              <a:t>Unser Alleinstellungsmerkmal ist die zentrale Integration aller Betriebsdaten mit einem einzigartigen agronomischen Verständnis – und das seit über 30 Jahren.</a:t>
            </a:r>
            <a:endParaRPr lang="de-DE" sz="16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33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>
            <a:extLst>
              <a:ext uri="{FF2B5EF4-FFF2-40B4-BE49-F238E27FC236}">
                <a16:creationId xmlns:a16="http://schemas.microsoft.com/office/drawing/2014/main" xmlns="" id="{FBAC82B6-2D83-594B-83C9-11DACC0B8EF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er Partner für Digital Farming Lösungen.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xmlns="" id="{061653B5-A14E-F54F-831E-89D6AB2EFD3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39554" y="1497110"/>
            <a:ext cx="8208259" cy="246221"/>
          </a:xfrm>
        </p:spPr>
        <p:txBody>
          <a:bodyPr/>
          <a:lstStyle/>
          <a:p>
            <a:r>
              <a:rPr lang="de-DE" b="0" dirty="0" smtClean="0">
                <a:solidFill>
                  <a:schemeClr val="accent2"/>
                </a:solidFill>
              </a:rPr>
              <a:t>Vertriebsgebiete national.</a:t>
            </a:r>
            <a:endParaRPr lang="de-DE" b="0" dirty="0">
              <a:solidFill>
                <a:schemeClr val="accent2"/>
              </a:solidFill>
            </a:endParaRP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xmlns="" id="{1B0F64DA-0FE3-774E-A048-09205A1A58E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9739" y="2062715"/>
            <a:ext cx="2934990" cy="2374347"/>
          </a:xfrm>
        </p:spPr>
        <p:txBody>
          <a:bodyPr/>
          <a:lstStyle/>
          <a:p>
            <a:pPr marL="171450" indent="-171450"/>
            <a:r>
              <a:rPr lang="de-DE" dirty="0"/>
              <a:t>National breit aufgestellt durch eigenes Vertriebsteam und Vertriebspartner</a:t>
            </a:r>
          </a:p>
          <a:p>
            <a:pPr marL="171450" indent="-171450"/>
            <a:r>
              <a:rPr lang="de-DE" dirty="0"/>
              <a:t>International vertreten durch eigenen Vertrieb, Beteiligungen und Vertriebspartner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xmlns="" id="{743E397F-60CB-F640-85F6-1D5ADB154A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FarmFacts GmbH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6" t="20838" r="19586" b="21930"/>
          <a:stretch/>
        </p:blipFill>
        <p:spPr>
          <a:xfrm>
            <a:off x="3533873" y="1497110"/>
            <a:ext cx="2377881" cy="312521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837" y="4047263"/>
            <a:ext cx="477097" cy="5400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419" y="3674758"/>
            <a:ext cx="477097" cy="5400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168" y="2789717"/>
            <a:ext cx="471290" cy="540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054" y="1792715"/>
            <a:ext cx="469565" cy="540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1466" y="2445297"/>
            <a:ext cx="47709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838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>
            <a:extLst>
              <a:ext uri="{FF2B5EF4-FFF2-40B4-BE49-F238E27FC236}">
                <a16:creationId xmlns:a16="http://schemas.microsoft.com/office/drawing/2014/main" xmlns="" id="{FBAC82B6-2D83-594B-83C9-11DACC0B8EF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er Partner für Digital Farming Lösungen.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xmlns="" id="{061653B5-A14E-F54F-831E-89D6AB2EFD3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39554" y="1497110"/>
            <a:ext cx="8208259" cy="246221"/>
          </a:xfrm>
        </p:spPr>
        <p:txBody>
          <a:bodyPr/>
          <a:lstStyle/>
          <a:p>
            <a:r>
              <a:rPr lang="de-DE" b="0" dirty="0">
                <a:solidFill>
                  <a:schemeClr val="accent2"/>
                </a:solidFill>
              </a:rPr>
              <a:t>Auszeichnungen und Partnerschaften.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xmlns="" id="{743E397F-60CB-F640-85F6-1D5ADB154A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FarmFacts GmbH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54" y="1872532"/>
            <a:ext cx="4902121" cy="77434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34" y="3146851"/>
            <a:ext cx="4873841" cy="86047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4828" y="1641022"/>
            <a:ext cx="2072124" cy="2953408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467834" y="3112367"/>
            <a:ext cx="1843914" cy="1846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Unsere Landtechnikpartner:</a:t>
            </a:r>
            <a:endParaRPr lang="de-DE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2267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xmlns="" id="{77C57358-FF7B-0C4A-A8BC-B62F210FA41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NEXT Farming Welt.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>
          <a:xfrm>
            <a:off x="439554" y="1497110"/>
            <a:ext cx="8208259" cy="246221"/>
          </a:xfrm>
        </p:spPr>
        <p:txBody>
          <a:bodyPr/>
          <a:lstStyle/>
          <a:p>
            <a:r>
              <a:rPr lang="de-DE" b="0" dirty="0">
                <a:solidFill>
                  <a:schemeClr val="bg2"/>
                </a:solidFill>
              </a:rPr>
              <a:t>Umfassende Lösungen entlang der gesamten landwirtschaftlichen Prozesskette.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xmlns="" id="{FDE531D8-CD0E-FF45-9D72-ACA7FCA914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FarmFacts GmbH</a:t>
            </a:r>
          </a:p>
        </p:txBody>
      </p:sp>
      <p:pic>
        <p:nvPicPr>
          <p:cNvPr id="6" name="Grafik 5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423" y="1798729"/>
            <a:ext cx="5879390" cy="2753535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439554" y="1798730"/>
            <a:ext cx="8208259" cy="2753534"/>
          </a:xfrm>
          <a:prstGeom prst="rect">
            <a:avLst/>
          </a:prstGeom>
          <a:noFill/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/>
          <p:cNvSpPr/>
          <p:nvPr/>
        </p:nvSpPr>
        <p:spPr>
          <a:xfrm>
            <a:off x="467834" y="1831309"/>
            <a:ext cx="2114868" cy="1224389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oftware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67834" y="3111097"/>
            <a:ext cx="2114868" cy="1383989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oftware, 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Hardware 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718666" y="3111097"/>
            <a:ext cx="1884158" cy="1383989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rtnering</a:t>
            </a:r>
            <a:r>
              <a:rPr lang="de-DE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Anwendungen</a:t>
            </a: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73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3AA92E5D-4821-C246-9BF5-F58F5B3CE9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NEXT Farming Welt mitgestalten.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404522DA-58A8-5D4F-91BB-BAF0809A1AB3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DE" b="0" dirty="0"/>
              <a:t>Mit Ihren Kunden in die digitale Zukunft.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xmlns="" id="{A456BB72-4106-934B-916B-77643371F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FarmFacts GmbH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6970" y="2080327"/>
            <a:ext cx="3771729" cy="2514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70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0" name="Group 27">
            <a:extLst>
              <a:ext uri="{FF2B5EF4-FFF2-40B4-BE49-F238E27FC236}">
                <a16:creationId xmlns:a16="http://schemas.microsoft.com/office/drawing/2014/main" xmlns="" id="{F445D2E9-3F8F-4575-B780-7D67AEA4A8D4}"/>
              </a:ext>
            </a:extLst>
          </p:cNvPr>
          <p:cNvGrpSpPr/>
          <p:nvPr/>
        </p:nvGrpSpPr>
        <p:grpSpPr>
          <a:xfrm>
            <a:off x="2865952" y="978499"/>
            <a:ext cx="2456967" cy="3704458"/>
            <a:chOff x="5265909" y="1305619"/>
            <a:chExt cx="3275956" cy="4939277"/>
          </a:xfrm>
        </p:grpSpPr>
        <p:grpSp>
          <p:nvGrpSpPr>
            <p:cNvPr id="801" name="Group 2">
              <a:extLst>
                <a:ext uri="{FF2B5EF4-FFF2-40B4-BE49-F238E27FC236}">
                  <a16:creationId xmlns:a16="http://schemas.microsoft.com/office/drawing/2014/main" xmlns="" id="{B628833A-407C-414F-90B0-968BAAC02AF2}"/>
                </a:ext>
              </a:extLst>
            </p:cNvPr>
            <p:cNvGrpSpPr/>
            <p:nvPr/>
          </p:nvGrpSpPr>
          <p:grpSpPr>
            <a:xfrm>
              <a:off x="5265909" y="1305619"/>
              <a:ext cx="3275956" cy="4939277"/>
              <a:chOff x="1687291" y="1938503"/>
              <a:chExt cx="3275956" cy="4939277"/>
            </a:xfrm>
          </p:grpSpPr>
          <p:sp>
            <p:nvSpPr>
              <p:cNvPr id="804" name="Rectangle 80">
                <a:extLst>
                  <a:ext uri="{FF2B5EF4-FFF2-40B4-BE49-F238E27FC236}">
                    <a16:creationId xmlns:a16="http://schemas.microsoft.com/office/drawing/2014/main" xmlns="" id="{796DC6BF-5959-45FD-BF36-71E01FBCE737}"/>
                  </a:ext>
                </a:extLst>
              </p:cNvPr>
              <p:cNvSpPr/>
              <p:nvPr/>
            </p:nvSpPr>
            <p:spPr>
              <a:xfrm>
                <a:off x="1687641" y="1938503"/>
                <a:ext cx="3275606" cy="4939277"/>
              </a:xfrm>
              <a:prstGeom prst="rect">
                <a:avLst/>
              </a:prstGeom>
              <a:noFill/>
              <a:ln w="19050" cap="flat" cmpd="sng" algn="ctr">
                <a:solidFill>
                  <a:srgbClr val="009650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7" tIns="27000" rIns="54007" bIns="540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en-US" sz="7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5" name="Rechteck 7">
                <a:extLst>
                  <a:ext uri="{FF2B5EF4-FFF2-40B4-BE49-F238E27FC236}">
                    <a16:creationId xmlns:a16="http://schemas.microsoft.com/office/drawing/2014/main" xmlns="" id="{F11AD48D-154B-4FCC-B025-598B8935166C}"/>
                  </a:ext>
                </a:extLst>
              </p:cNvPr>
              <p:cNvSpPr/>
              <p:nvPr/>
            </p:nvSpPr>
            <p:spPr>
              <a:xfrm>
                <a:off x="1731776" y="2449293"/>
                <a:ext cx="1475652" cy="457200"/>
              </a:xfrm>
              <a:prstGeom prst="rect">
                <a:avLst/>
              </a:prstGeom>
              <a:solidFill>
                <a:srgbClr val="439E00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r>
                  <a:rPr lang="en-GB" sz="600" b="1" dirty="0">
                    <a:solidFill>
                      <a:srgbClr val="FFFFFF"/>
                    </a:solidFill>
                  </a:rPr>
                  <a:t>NEXT Farming LIVE</a:t>
                </a:r>
              </a:p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r>
                  <a:rPr lang="en-GB" sz="600" dirty="0">
                    <a:solidFill>
                      <a:srgbClr val="FFFFFF"/>
                    </a:solidFill>
                  </a:rPr>
                  <a:t>(Cloud Solution)</a:t>
                </a:r>
                <a:r>
                  <a:rPr lang="en-GB" sz="600" b="1" dirty="0">
                    <a:solidFill>
                      <a:srgbClr val="FFFFFF"/>
                    </a:solidFill>
                  </a:rPr>
                  <a:t> </a:t>
                </a:r>
                <a:endParaRPr lang="en-GB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6" name="Rechteck 116">
                <a:extLst>
                  <a:ext uri="{FF2B5EF4-FFF2-40B4-BE49-F238E27FC236}">
                    <a16:creationId xmlns:a16="http://schemas.microsoft.com/office/drawing/2014/main" xmlns="" id="{A9F0CE51-DC78-4392-84DB-02CABC8E2C13}"/>
                  </a:ext>
                </a:extLst>
              </p:cNvPr>
              <p:cNvSpPr/>
              <p:nvPr/>
            </p:nvSpPr>
            <p:spPr>
              <a:xfrm>
                <a:off x="3444262" y="2449291"/>
                <a:ext cx="1475652" cy="457200"/>
              </a:xfrm>
              <a:prstGeom prst="rect">
                <a:avLst/>
              </a:prstGeom>
              <a:solidFill>
                <a:srgbClr val="7CBB00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r>
                  <a:rPr lang="en-GB" sz="600" b="1" dirty="0">
                    <a:solidFill>
                      <a:srgbClr val="FFFFFF"/>
                    </a:solidFill>
                  </a:rPr>
                  <a:t>NEXT Farming OFFICE</a:t>
                </a:r>
              </a:p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r>
                  <a:rPr lang="de-DE" sz="600" dirty="0">
                    <a:solidFill>
                      <a:srgbClr val="FFFFFF"/>
                    </a:solidFill>
                  </a:rPr>
                  <a:t>(</a:t>
                </a:r>
                <a:r>
                  <a:rPr lang="en-GB" sz="600" dirty="0">
                    <a:solidFill>
                      <a:srgbClr val="FFFFFF"/>
                    </a:solidFill>
                  </a:rPr>
                  <a:t>Desktop Solution)</a:t>
                </a:r>
              </a:p>
            </p:txBody>
          </p:sp>
          <p:pic>
            <p:nvPicPr>
              <p:cNvPr id="807" name="Picture 3">
                <a:extLst>
                  <a:ext uri="{FF2B5EF4-FFF2-40B4-BE49-F238E27FC236}">
                    <a16:creationId xmlns:a16="http://schemas.microsoft.com/office/drawing/2014/main" xmlns="" id="{DDFE3047-120F-47B3-95D7-3F4504431DB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417" t="62211" r="5263" b="1"/>
              <a:stretch/>
            </p:blipFill>
            <p:spPr bwMode="auto">
              <a:xfrm>
                <a:off x="3444262" y="2957787"/>
                <a:ext cx="1343464" cy="4931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808" name="Rectangle 49">
                <a:extLst>
                  <a:ext uri="{FF2B5EF4-FFF2-40B4-BE49-F238E27FC236}">
                    <a16:creationId xmlns:a16="http://schemas.microsoft.com/office/drawing/2014/main" xmlns="" id="{2B82DF69-985C-4A06-B720-A8CF83E37109}"/>
                  </a:ext>
                </a:extLst>
              </p:cNvPr>
              <p:cNvSpPr/>
              <p:nvPr/>
            </p:nvSpPr>
            <p:spPr>
              <a:xfrm>
                <a:off x="1687291" y="1943409"/>
                <a:ext cx="3275606" cy="457200"/>
              </a:xfrm>
              <a:prstGeom prst="rect">
                <a:avLst/>
              </a:prstGeom>
              <a:solidFill>
                <a:schemeClr val="bg2"/>
              </a:solidFill>
              <a:ln w="19050" cap="flat" cmpd="sng" algn="ctr">
                <a:solidFill>
                  <a:schemeClr val="bg2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r>
                  <a:rPr lang="en-US" sz="750" b="1" dirty="0">
                    <a:solidFill>
                      <a:srgbClr val="FFFFFF"/>
                    </a:solidFill>
                  </a:rPr>
                  <a:t>NEXT Farming</a:t>
                </a:r>
              </a:p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r>
                  <a:rPr lang="en-US" sz="750" b="1" dirty="0">
                    <a:solidFill>
                      <a:srgbClr val="FFFFFF"/>
                    </a:solidFill>
                  </a:rPr>
                  <a:t>Solution Platform</a:t>
                </a:r>
                <a:endParaRPr lang="en-GB" sz="750" dirty="0" err="1">
                  <a:solidFill>
                    <a:srgbClr val="FFFFFF"/>
                  </a:solidFill>
                </a:endParaRPr>
              </a:p>
            </p:txBody>
          </p:sp>
          <p:pic>
            <p:nvPicPr>
              <p:cNvPr id="809" name="Picture 3">
                <a:extLst>
                  <a:ext uri="{FF2B5EF4-FFF2-40B4-BE49-F238E27FC236}">
                    <a16:creationId xmlns:a16="http://schemas.microsoft.com/office/drawing/2014/main" xmlns="" id="{E16C4F35-7022-4D77-B8C9-2B14598B9F3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370" t="17447" r="5309" b="44374"/>
              <a:stretch/>
            </p:blipFill>
            <p:spPr bwMode="auto">
              <a:xfrm>
                <a:off x="1735817" y="2962149"/>
                <a:ext cx="1505412" cy="5583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</p:grpSp>
        <p:sp>
          <p:nvSpPr>
            <p:cNvPr id="802" name="Rechteck 116">
              <a:extLst>
                <a:ext uri="{FF2B5EF4-FFF2-40B4-BE49-F238E27FC236}">
                  <a16:creationId xmlns:a16="http://schemas.microsoft.com/office/drawing/2014/main" xmlns="" id="{2F105158-1030-459E-B775-E1B9D9BFF0D5}"/>
                </a:ext>
              </a:extLst>
            </p:cNvPr>
            <p:cNvSpPr/>
            <p:nvPr/>
          </p:nvSpPr>
          <p:spPr>
            <a:xfrm>
              <a:off x="6566083" y="2356467"/>
              <a:ext cx="238125" cy="230982"/>
            </a:xfrm>
            <a:prstGeom prst="rect">
              <a:avLst/>
            </a:prstGeom>
            <a:noFill/>
            <a:ln w="12700" cap="flat" cmpd="sng" algn="ctr">
              <a:solidFill>
                <a:srgbClr val="4AA432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endParaRPr lang="en-GB" sz="600" dirty="0">
                <a:solidFill>
                  <a:srgbClr val="FFFFFF"/>
                </a:solidFill>
              </a:endParaRPr>
            </a:p>
          </p:txBody>
        </p:sp>
        <p:sp>
          <p:nvSpPr>
            <p:cNvPr id="803" name="Rechteck 116">
              <a:extLst>
                <a:ext uri="{FF2B5EF4-FFF2-40B4-BE49-F238E27FC236}">
                  <a16:creationId xmlns:a16="http://schemas.microsoft.com/office/drawing/2014/main" xmlns="" id="{C19F6A7D-970A-4B96-B9C8-AC3CF1CD08ED}"/>
                </a:ext>
              </a:extLst>
            </p:cNvPr>
            <p:cNvSpPr/>
            <p:nvPr/>
          </p:nvSpPr>
          <p:spPr>
            <a:xfrm>
              <a:off x="5427187" y="2968534"/>
              <a:ext cx="2953751" cy="3170767"/>
            </a:xfrm>
            <a:prstGeom prst="rect">
              <a:avLst/>
            </a:prstGeom>
            <a:noFill/>
            <a:ln w="12700" cap="flat" cmpd="sng" algn="ctr">
              <a:solidFill>
                <a:srgbClr val="4AA432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endParaRPr lang="en-GB" sz="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810" name="Rectangle 13">
            <a:extLst>
              <a:ext uri="{FF2B5EF4-FFF2-40B4-BE49-F238E27FC236}">
                <a16:creationId xmlns:a16="http://schemas.microsoft.com/office/drawing/2014/main" xmlns="" id="{148C490C-47F0-4CF7-A94A-73618489CBCE}"/>
              </a:ext>
            </a:extLst>
          </p:cNvPr>
          <p:cNvSpPr/>
          <p:nvPr/>
        </p:nvSpPr>
        <p:spPr>
          <a:xfrm>
            <a:off x="2993593" y="3929431"/>
            <a:ext cx="2238069" cy="61353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7" tIns="54007" rIns="54000" bIns="54007" rtlCol="0" anchor="t">
            <a:noAutofit/>
          </a:bodyPr>
          <a:lstStyle/>
          <a:p>
            <a:pPr defTabSz="685800" fontAlgn="base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tabLst>
                <a:tab pos="1344216" algn="l"/>
                <a:tab pos="2552700" algn="l"/>
              </a:tabLst>
            </a:pPr>
            <a:r>
              <a:rPr lang="en-US" sz="900" b="1" dirty="0">
                <a:solidFill>
                  <a:srgbClr val="666666">
                    <a:lumMod val="50000"/>
                  </a:srgbClr>
                </a:solidFill>
              </a:rPr>
              <a:t>NEXT Machine Management </a:t>
            </a:r>
            <a:r>
              <a:rPr lang="en-US" sz="900" dirty="0">
                <a:solidFill>
                  <a:srgbClr val="666666">
                    <a:lumMod val="50000"/>
                  </a:srgbClr>
                </a:solidFill>
              </a:rPr>
              <a:t>is the best-in-class machine management solution in terms of usability, convenience and versatility</a:t>
            </a:r>
            <a:endParaRPr lang="en-US" sz="900" b="1" dirty="0">
              <a:solidFill>
                <a:srgbClr val="666666">
                  <a:lumMod val="50000"/>
                </a:srgbClr>
              </a:solidFill>
            </a:endParaRPr>
          </a:p>
        </p:txBody>
      </p:sp>
      <p:grpSp>
        <p:nvGrpSpPr>
          <p:cNvPr id="811" name="Group 9">
            <a:extLst>
              <a:ext uri="{FF2B5EF4-FFF2-40B4-BE49-F238E27FC236}">
                <a16:creationId xmlns:a16="http://schemas.microsoft.com/office/drawing/2014/main" xmlns="" id="{CC3DF449-5515-4F96-9A43-6AF69E61B339}"/>
              </a:ext>
            </a:extLst>
          </p:cNvPr>
          <p:cNvGrpSpPr/>
          <p:nvPr/>
        </p:nvGrpSpPr>
        <p:grpSpPr>
          <a:xfrm>
            <a:off x="3077299" y="2429444"/>
            <a:ext cx="2075726" cy="1347028"/>
            <a:chOff x="4948484" y="2598940"/>
            <a:chExt cx="2663087" cy="1728192"/>
          </a:xfrm>
        </p:grpSpPr>
        <p:sp>
          <p:nvSpPr>
            <p:cNvPr id="812" name="Rechteck 13">
              <a:extLst>
                <a:ext uri="{FF2B5EF4-FFF2-40B4-BE49-F238E27FC236}">
                  <a16:creationId xmlns:a16="http://schemas.microsoft.com/office/drawing/2014/main" xmlns="" id="{BED497A6-90A5-4A80-807C-E6E512E38D37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 rot="5400000">
              <a:off x="7227715" y="2931764"/>
              <a:ext cx="104037" cy="337158"/>
            </a:xfrm>
            <a:prstGeom prst="rect">
              <a:avLst/>
            </a:prstGeom>
            <a:solidFill>
              <a:srgbClr val="5FAE4B"/>
            </a:solidFill>
            <a:ln w="317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600" cap="all" dirty="0">
                <a:solidFill>
                  <a:srgbClr val="000000"/>
                </a:solidFill>
              </a:endParaRPr>
            </a:p>
          </p:txBody>
        </p:sp>
        <p:sp>
          <p:nvSpPr>
            <p:cNvPr id="813" name="Ellipse 49">
              <a:extLst>
                <a:ext uri="{FF2B5EF4-FFF2-40B4-BE49-F238E27FC236}">
                  <a16:creationId xmlns:a16="http://schemas.microsoft.com/office/drawing/2014/main" xmlns="" id="{05B60164-2C6B-40AE-9C08-10A73AB05053}"/>
                </a:ext>
              </a:extLst>
            </p:cNvPr>
            <p:cNvSpPr>
              <a:spLocks/>
            </p:cNvSpPr>
            <p:nvPr/>
          </p:nvSpPr>
          <p:spPr>
            <a:xfrm flipH="1">
              <a:off x="6084168" y="2605290"/>
              <a:ext cx="108000" cy="10800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7" tIns="54007" rIns="54007" bIns="54007" rtlCol="0"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de-DE" sz="600" b="1" dirty="0">
                  <a:solidFill>
                    <a:srgbClr val="FFFFFF"/>
                  </a:solidFill>
                </a:rPr>
                <a:t>2</a:t>
              </a:r>
              <a:endParaRPr lang="en-GB" sz="6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814" name="Group 8">
              <a:extLst>
                <a:ext uri="{FF2B5EF4-FFF2-40B4-BE49-F238E27FC236}">
                  <a16:creationId xmlns:a16="http://schemas.microsoft.com/office/drawing/2014/main" xmlns="" id="{D41AF5D2-D8F2-4600-82EF-E07B95697848}"/>
                </a:ext>
              </a:extLst>
            </p:cNvPr>
            <p:cNvGrpSpPr/>
            <p:nvPr/>
          </p:nvGrpSpPr>
          <p:grpSpPr>
            <a:xfrm>
              <a:off x="4948484" y="2598940"/>
              <a:ext cx="2663087" cy="1728192"/>
              <a:chOff x="4948484" y="2598940"/>
              <a:chExt cx="2663087" cy="1728192"/>
            </a:xfrm>
          </p:grpSpPr>
          <p:grpSp>
            <p:nvGrpSpPr>
              <p:cNvPr id="815" name="Group 7">
                <a:extLst>
                  <a:ext uri="{FF2B5EF4-FFF2-40B4-BE49-F238E27FC236}">
                    <a16:creationId xmlns:a16="http://schemas.microsoft.com/office/drawing/2014/main" xmlns="" id="{1083C6F6-F370-4309-BD03-BC58AE0A38E0}"/>
                  </a:ext>
                </a:extLst>
              </p:cNvPr>
              <p:cNvGrpSpPr/>
              <p:nvPr/>
            </p:nvGrpSpPr>
            <p:grpSpPr>
              <a:xfrm>
                <a:off x="4948484" y="2598940"/>
                <a:ext cx="2584494" cy="1728192"/>
                <a:chOff x="4948484" y="2598940"/>
                <a:chExt cx="2584494" cy="1728192"/>
              </a:xfrm>
            </p:grpSpPr>
            <p:sp>
              <p:nvSpPr>
                <p:cNvPr id="817" name="Pfeil: nach oben gebogen 12">
                  <a:extLst>
                    <a:ext uri="{FF2B5EF4-FFF2-40B4-BE49-F238E27FC236}">
                      <a16:creationId xmlns:a16="http://schemas.microsoft.com/office/drawing/2014/main" xmlns="" id="{90D6F7B9-61C8-48FB-9BE7-04F63E175838}"/>
                    </a:ext>
                  </a:extLst>
                </p:cNvPr>
                <p:cNvSpPr/>
                <p:nvPr/>
              </p:nvSpPr>
              <p:spPr>
                <a:xfrm rot="5400000" flipV="1">
                  <a:off x="6809031" y="3365512"/>
                  <a:ext cx="943948" cy="332889"/>
                </a:xfrm>
                <a:prstGeom prst="bentUpArrow">
                  <a:avLst>
                    <a:gd name="adj1" fmla="val 31303"/>
                    <a:gd name="adj2" fmla="val 30494"/>
                    <a:gd name="adj3" fmla="val 28756"/>
                  </a:avLst>
                </a:prstGeom>
                <a:solidFill>
                  <a:srgbClr val="5FAE4B"/>
                </a:solidFill>
                <a:ln w="3175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27000" tIns="27000" rIns="27000" bIns="27000"/>
                <a:lstStyle/>
                <a:p>
                  <a:pPr algn="ctr" defTabSz="68580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600" cap="all" dirty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18" name="Gruppieren 4">
                  <a:extLst>
                    <a:ext uri="{FF2B5EF4-FFF2-40B4-BE49-F238E27FC236}">
                      <a16:creationId xmlns:a16="http://schemas.microsoft.com/office/drawing/2014/main" xmlns="" id="{55FB0070-5B3E-4A20-98B7-D04ED68EDB79}"/>
                    </a:ext>
                  </a:extLst>
                </p:cNvPr>
                <p:cNvGrpSpPr/>
                <p:nvPr/>
              </p:nvGrpSpPr>
              <p:grpSpPr>
                <a:xfrm>
                  <a:off x="7266883" y="3182099"/>
                  <a:ext cx="266095" cy="260709"/>
                  <a:chOff x="5438870" y="6293108"/>
                  <a:chExt cx="602234" cy="602234"/>
                </a:xfrm>
              </p:grpSpPr>
              <p:sp>
                <p:nvSpPr>
                  <p:cNvPr id="833" name="Ellipse 3">
                    <a:extLst>
                      <a:ext uri="{FF2B5EF4-FFF2-40B4-BE49-F238E27FC236}">
                        <a16:creationId xmlns:a16="http://schemas.microsoft.com/office/drawing/2014/main" xmlns="" id="{BAE14009-1C02-4B0C-AE06-2FE1883F04E9}"/>
                      </a:ext>
                    </a:extLst>
                  </p:cNvPr>
                  <p:cNvSpPr/>
                  <p:nvPr/>
                </p:nvSpPr>
                <p:spPr>
                  <a:xfrm>
                    <a:off x="5507545" y="6352002"/>
                    <a:ext cx="453512" cy="48486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 cap="flat" cmpd="sng" algn="ctr">
                    <a:noFill/>
                    <a:prstDash val="solid"/>
                  </a:ln>
                  <a:effectLst/>
                  <a:ex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7" tIns="54007" rIns="54007" bIns="54007" rtlCol="0" anchor="ctr"/>
                  <a:lstStyle/>
                  <a:p>
                    <a:pPr algn="ctr" defTabSz="68580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FFFFFF"/>
                      </a:buClr>
                    </a:pPr>
                    <a:endParaRPr lang="de-DE" sz="1350" dirty="0" err="1">
                      <a:solidFill>
                        <a:srgbClr val="FFFFFF"/>
                      </a:solidFill>
                    </a:endParaRPr>
                  </a:p>
                </p:txBody>
              </p:sp>
              <p:pic>
                <p:nvPicPr>
                  <p:cNvPr id="834" name="Grafik 57">
                    <a:extLst>
                      <a:ext uri="{FF2B5EF4-FFF2-40B4-BE49-F238E27FC236}">
                        <a16:creationId xmlns:a16="http://schemas.microsoft.com/office/drawing/2014/main" xmlns="" id="{32A77B7D-8DEF-4CB6-9F9D-BAEFCD8A5B5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 cstate="print">
                    <a:duotone>
                      <a:prstClr val="black"/>
                      <a:schemeClr val="tx1">
                        <a:tint val="45000"/>
                        <a:satMod val="400000"/>
                      </a:scheme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10">
                            <a14:imgEffect>
                              <a14:backgroundRemoval t="1778" b="95556" l="4889" r="94667">
                                <a14:foregroundMark x1="38222" y1="76000" x2="38222" y2="76000"/>
                                <a14:foregroundMark x1="59111" y1="74222" x2="59111" y2="74222"/>
                                <a14:foregroundMark x1="61778" y1="75111" x2="61778" y2="75111"/>
                                <a14:foregroundMark x1="61778" y1="75111" x2="61778" y2="75111"/>
                                <a14:foregroundMark x1="61778" y1="80889" x2="61778" y2="80889"/>
                                <a14:foregroundMark x1="61778" y1="80889" x2="61778" y2="80889"/>
                                <a14:foregroundMark x1="72889" y1="77778" x2="72889" y2="77778"/>
                                <a14:foregroundMark x1="74222" y1="75556" x2="74222" y2="75556"/>
                                <a14:foregroundMark x1="79111" y1="70667" x2="79111" y2="70667"/>
                                <a14:foregroundMark x1="84889" y1="63111" x2="84889" y2="63111"/>
                                <a14:foregroundMark x1="86222" y1="57333" x2="86222" y2="57333"/>
                                <a14:foregroundMark x1="86222" y1="55111" x2="86222" y2="55111"/>
                                <a14:foregroundMark x1="81333" y1="50667" x2="81333" y2="50667"/>
                                <a14:foregroundMark x1="77778" y1="48000" x2="77778" y2="48000"/>
                                <a14:foregroundMark x1="75111" y1="41333" x2="75111" y2="41333"/>
                                <a14:foregroundMark x1="74222" y1="39556" x2="74222" y2="39556"/>
                                <a14:foregroundMark x1="53778" y1="31556" x2="53778" y2="31556"/>
                                <a14:foregroundMark x1="47111" y1="31556" x2="47111" y2="31556"/>
                                <a14:foregroundMark x1="45778" y1="31556" x2="45778" y2="31556"/>
                                <a14:foregroundMark x1="28000" y1="31556" x2="28000" y2="31556"/>
                                <a14:foregroundMark x1="20889" y1="32889" x2="20889" y2="32889"/>
                                <a14:foregroundMark x1="19556" y1="33333" x2="19556" y2="33333"/>
                                <a14:foregroundMark x1="19556" y1="33333" x2="19556" y2="33333"/>
                                <a14:foregroundMark x1="13778" y1="55556" x2="13778" y2="55556"/>
                              </a14:backgroundRemoval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38870" y="6293108"/>
                    <a:ext cx="602234" cy="60223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819" name="Group 6">
                  <a:extLst>
                    <a:ext uri="{FF2B5EF4-FFF2-40B4-BE49-F238E27FC236}">
                      <a16:creationId xmlns:a16="http://schemas.microsoft.com/office/drawing/2014/main" xmlns="" id="{E65BC37F-1C60-4775-8ACA-4A65C156AC7F}"/>
                    </a:ext>
                  </a:extLst>
                </p:cNvPr>
                <p:cNvGrpSpPr/>
                <p:nvPr/>
              </p:nvGrpSpPr>
              <p:grpSpPr>
                <a:xfrm>
                  <a:off x="4948484" y="2598940"/>
                  <a:ext cx="2273882" cy="1728192"/>
                  <a:chOff x="4948484" y="2598940"/>
                  <a:chExt cx="2273882" cy="1728192"/>
                </a:xfrm>
              </p:grpSpPr>
              <p:sp>
                <p:nvSpPr>
                  <p:cNvPr id="820" name="Pfeil: nach rechts 15">
                    <a:extLst>
                      <a:ext uri="{FF2B5EF4-FFF2-40B4-BE49-F238E27FC236}">
                        <a16:creationId xmlns:a16="http://schemas.microsoft.com/office/drawing/2014/main" xmlns="" id="{1328BA72-1B4B-424B-AD14-0E314C73BC5F}"/>
                      </a:ext>
                    </a:extLst>
                  </p:cNvPr>
                  <p:cNvSpPr/>
                  <p:nvPr/>
                </p:nvSpPr>
                <p:spPr>
                  <a:xfrm>
                    <a:off x="5995040" y="2971881"/>
                    <a:ext cx="182004" cy="203660"/>
                  </a:xfrm>
                  <a:prstGeom prst="rightArrow">
                    <a:avLst/>
                  </a:prstGeom>
                  <a:solidFill>
                    <a:srgbClr val="5FAE4B"/>
                  </a:solidFill>
                  <a:ln w="31750"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27000" tIns="27000" rIns="27000" bIns="27000"/>
                  <a:lstStyle/>
                  <a:p>
                    <a:pPr algn="ctr" defTabSz="685800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600" cap="all" dirty="0">
                      <a:solidFill>
                        <a:srgbClr val="000000"/>
                      </a:solidFill>
                    </a:endParaRPr>
                  </a:p>
                </p:txBody>
              </p:sp>
              <p:pic>
                <p:nvPicPr>
                  <p:cNvPr id="821" name="Grafik 26">
                    <a:extLst>
                      <a:ext uri="{FF2B5EF4-FFF2-40B4-BE49-F238E27FC236}">
                        <a16:creationId xmlns:a16="http://schemas.microsoft.com/office/drawing/2014/main" xmlns="" id="{7FA8FC5A-E1B0-4A1C-B083-94FABB1B5C9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213718" y="2734173"/>
                    <a:ext cx="855575" cy="55756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822" name="Grafik 28">
                    <a:extLst>
                      <a:ext uri="{FF2B5EF4-FFF2-40B4-BE49-F238E27FC236}">
                        <a16:creationId xmlns:a16="http://schemas.microsoft.com/office/drawing/2014/main" xmlns="" id="{83805CF5-CC76-4B0E-8584-08D5265A47E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078034" y="3769566"/>
                    <a:ext cx="855575" cy="55756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823" name="Grafik 29">
                    <a:extLst>
                      <a:ext uri="{FF2B5EF4-FFF2-40B4-BE49-F238E27FC236}">
                        <a16:creationId xmlns:a16="http://schemas.microsoft.com/office/drawing/2014/main" xmlns="" id="{E94D8DAC-BFFD-4F06-A497-8496469539A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078033" y="2731393"/>
                    <a:ext cx="855575" cy="55756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824" name="Grafik 80">
                    <a:extLst>
                      <a:ext uri="{FF2B5EF4-FFF2-40B4-BE49-F238E27FC236}">
                        <a16:creationId xmlns:a16="http://schemas.microsoft.com/office/drawing/2014/main" xmlns="" id="{6F91C722-F33C-4960-8A3D-8BBCC9366EB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213718" y="3767250"/>
                    <a:ext cx="855575" cy="55756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825" name="Ellipse 49">
                    <a:extLst>
                      <a:ext uri="{FF2B5EF4-FFF2-40B4-BE49-F238E27FC236}">
                        <a16:creationId xmlns:a16="http://schemas.microsoft.com/office/drawing/2014/main" xmlns="" id="{0776E8B6-D0C7-4B81-AACE-CF713BBE1D7E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 flipH="1">
                    <a:off x="4948484" y="2605290"/>
                    <a:ext cx="108000" cy="108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ap="flat" cmpd="sng" algn="ctr">
                    <a:solidFill>
                      <a:schemeClr val="tx2"/>
                    </a:solidFill>
                    <a:prstDash val="solid"/>
                  </a:ln>
                  <a:effectLst/>
                  <a:ex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7" tIns="54007" rIns="54007" bIns="54007" rtlCol="0" anchor="ctr"/>
                  <a:lstStyle/>
                  <a:p>
                    <a:pPr algn="ctr" defTabSz="68580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FFFFFF"/>
                      </a:buClr>
                    </a:pPr>
                    <a:r>
                      <a:rPr lang="en-GB" sz="600" b="1" dirty="0">
                        <a:solidFill>
                          <a:srgbClr val="FFFFFF"/>
                        </a:solidFill>
                      </a:rPr>
                      <a:t>1</a:t>
                    </a:r>
                  </a:p>
                </p:txBody>
              </p:sp>
              <p:sp>
                <p:nvSpPr>
                  <p:cNvPr id="826" name="Rectangle 1">
                    <a:extLst>
                      <a:ext uri="{FF2B5EF4-FFF2-40B4-BE49-F238E27FC236}">
                        <a16:creationId xmlns:a16="http://schemas.microsoft.com/office/drawing/2014/main" xmlns="" id="{A004AD49-5A0E-4D1A-855F-5581335A6FA5}"/>
                      </a:ext>
                    </a:extLst>
                  </p:cNvPr>
                  <p:cNvSpPr/>
                  <p:nvPr/>
                </p:nvSpPr>
                <p:spPr>
                  <a:xfrm>
                    <a:off x="5106040" y="2598940"/>
                    <a:ext cx="1162646" cy="128400"/>
                  </a:xfrm>
                  <a:prstGeom prst="rect">
                    <a:avLst/>
                  </a:prstGeom>
                  <a:noFill/>
                  <a:ln w="12700" cap="flat" cmpd="sng" algn="ctr">
                    <a:noFill/>
                    <a:prstDash val="solid"/>
                  </a:ln>
                  <a:effectLst/>
                  <a:ex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FFFFFF"/>
                      </a:buClr>
                    </a:pPr>
                    <a:r>
                      <a:rPr lang="en-US" sz="600" b="1" dirty="0">
                        <a:solidFill>
                          <a:srgbClr val="008843"/>
                        </a:solidFill>
                      </a:rPr>
                      <a:t>Field import</a:t>
                    </a:r>
                  </a:p>
                </p:txBody>
              </p:sp>
              <p:sp>
                <p:nvSpPr>
                  <p:cNvPr id="827" name="Rectangle 1">
                    <a:extLst>
                      <a:ext uri="{FF2B5EF4-FFF2-40B4-BE49-F238E27FC236}">
                        <a16:creationId xmlns:a16="http://schemas.microsoft.com/office/drawing/2014/main" xmlns="" id="{53A4EC14-E660-45E8-8DF0-C5FD1D60E5D7}"/>
                      </a:ext>
                    </a:extLst>
                  </p:cNvPr>
                  <p:cNvSpPr/>
                  <p:nvPr/>
                </p:nvSpPr>
                <p:spPr>
                  <a:xfrm>
                    <a:off x="6230773" y="2598940"/>
                    <a:ext cx="991593" cy="128400"/>
                  </a:xfrm>
                  <a:prstGeom prst="rect">
                    <a:avLst/>
                  </a:prstGeom>
                  <a:noFill/>
                  <a:ln w="12700" cap="flat" cmpd="sng" algn="ctr">
                    <a:noFill/>
                    <a:prstDash val="solid"/>
                  </a:ln>
                  <a:effectLst/>
                  <a:ex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FFFFFF"/>
                      </a:buClr>
                    </a:pPr>
                    <a:r>
                      <a:rPr lang="en-US" sz="600" b="1" dirty="0">
                        <a:solidFill>
                          <a:srgbClr val="008843"/>
                        </a:solidFill>
                      </a:rPr>
                      <a:t>Machine planning</a:t>
                    </a:r>
                  </a:p>
                </p:txBody>
              </p:sp>
              <p:sp>
                <p:nvSpPr>
                  <p:cNvPr id="828" name="Ellipse 49">
                    <a:extLst>
                      <a:ext uri="{FF2B5EF4-FFF2-40B4-BE49-F238E27FC236}">
                        <a16:creationId xmlns:a16="http://schemas.microsoft.com/office/drawing/2014/main" xmlns="" id="{7059D722-C029-4C7C-9AC6-63E712AE570F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 flipH="1">
                    <a:off x="4948484" y="3648559"/>
                    <a:ext cx="108000" cy="108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ap="flat" cmpd="sng" algn="ctr">
                    <a:solidFill>
                      <a:schemeClr val="tx2"/>
                    </a:solidFill>
                    <a:prstDash val="solid"/>
                  </a:ln>
                  <a:effectLst/>
                  <a:ex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7" tIns="54007" rIns="54007" bIns="54007" rtlCol="0" anchor="ctr"/>
                  <a:lstStyle/>
                  <a:p>
                    <a:pPr algn="ctr" defTabSz="68580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FFFFFF"/>
                      </a:buClr>
                    </a:pPr>
                    <a:r>
                      <a:rPr lang="de-DE" sz="600" b="1" dirty="0">
                        <a:solidFill>
                          <a:srgbClr val="FFFFFF"/>
                        </a:solidFill>
                      </a:rPr>
                      <a:t>4</a:t>
                    </a:r>
                    <a:endParaRPr lang="en-GB" sz="600" b="1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829" name="Rectangle 1">
                    <a:extLst>
                      <a:ext uri="{FF2B5EF4-FFF2-40B4-BE49-F238E27FC236}">
                        <a16:creationId xmlns:a16="http://schemas.microsoft.com/office/drawing/2014/main" xmlns="" id="{211FB54F-71EB-4F07-B00D-FA9764171E87}"/>
                      </a:ext>
                    </a:extLst>
                  </p:cNvPr>
                  <p:cNvSpPr/>
                  <p:nvPr/>
                </p:nvSpPr>
                <p:spPr>
                  <a:xfrm>
                    <a:off x="5106040" y="3642209"/>
                    <a:ext cx="1162646" cy="128400"/>
                  </a:xfrm>
                  <a:prstGeom prst="rect">
                    <a:avLst/>
                  </a:prstGeom>
                  <a:noFill/>
                  <a:ln w="12700" cap="flat" cmpd="sng" algn="ctr">
                    <a:noFill/>
                    <a:prstDash val="solid"/>
                  </a:ln>
                  <a:effectLst/>
                  <a:ex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FFFFFF"/>
                      </a:buClr>
                    </a:pPr>
                    <a:r>
                      <a:rPr lang="en-US" sz="600" b="1" dirty="0">
                        <a:solidFill>
                          <a:srgbClr val="008843"/>
                        </a:solidFill>
                      </a:rPr>
                      <a:t>Documentation</a:t>
                    </a:r>
                  </a:p>
                </p:txBody>
              </p:sp>
              <p:sp>
                <p:nvSpPr>
                  <p:cNvPr id="830" name="Pfeil: nach rechts 15">
                    <a:extLst>
                      <a:ext uri="{FF2B5EF4-FFF2-40B4-BE49-F238E27FC236}">
                        <a16:creationId xmlns:a16="http://schemas.microsoft.com/office/drawing/2014/main" xmlns="" id="{510F17FE-E6CA-4B39-A844-FE543DD47FEF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5948976" y="3944946"/>
                    <a:ext cx="182004" cy="203660"/>
                  </a:xfrm>
                  <a:prstGeom prst="rightArrow">
                    <a:avLst/>
                  </a:prstGeom>
                  <a:solidFill>
                    <a:srgbClr val="5FAE4B"/>
                  </a:solidFill>
                  <a:ln w="31750"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27000" tIns="27000" rIns="27000" bIns="27000"/>
                  <a:lstStyle/>
                  <a:p>
                    <a:pPr algn="ctr" defTabSz="685800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600" cap="all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831" name="Ellipse 49">
                    <a:extLst>
                      <a:ext uri="{FF2B5EF4-FFF2-40B4-BE49-F238E27FC236}">
                        <a16:creationId xmlns:a16="http://schemas.microsoft.com/office/drawing/2014/main" xmlns="" id="{0544BE88-3383-446E-BDE5-F957330E3C89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 flipH="1">
                    <a:off x="6084168" y="3648559"/>
                    <a:ext cx="108000" cy="108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ap="flat" cmpd="sng" algn="ctr">
                    <a:solidFill>
                      <a:schemeClr val="tx2"/>
                    </a:solidFill>
                    <a:prstDash val="solid"/>
                  </a:ln>
                  <a:effectLst/>
                  <a:ex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7" tIns="54007" rIns="54007" bIns="54007" rtlCol="0" anchor="ctr"/>
                  <a:lstStyle/>
                  <a:p>
                    <a:pPr algn="ctr" defTabSz="68580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FFFFFF"/>
                      </a:buClr>
                    </a:pPr>
                    <a:r>
                      <a:rPr lang="de-DE" sz="600" b="1" dirty="0">
                        <a:solidFill>
                          <a:srgbClr val="FFFFFF"/>
                        </a:solidFill>
                      </a:rPr>
                      <a:t>3</a:t>
                    </a:r>
                    <a:endParaRPr lang="en-GB" sz="600" b="1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832" name="Rectangle 1">
                    <a:extLst>
                      <a:ext uri="{FF2B5EF4-FFF2-40B4-BE49-F238E27FC236}">
                        <a16:creationId xmlns:a16="http://schemas.microsoft.com/office/drawing/2014/main" xmlns="" id="{8CB42B93-FF00-46ED-A874-16E4FA16F046}"/>
                      </a:ext>
                    </a:extLst>
                  </p:cNvPr>
                  <p:cNvSpPr/>
                  <p:nvPr/>
                </p:nvSpPr>
                <p:spPr>
                  <a:xfrm>
                    <a:off x="6230773" y="3642209"/>
                    <a:ext cx="896396" cy="128400"/>
                  </a:xfrm>
                  <a:prstGeom prst="rect">
                    <a:avLst/>
                  </a:prstGeom>
                  <a:noFill/>
                  <a:ln w="12700" cap="flat" cmpd="sng" algn="ctr">
                    <a:noFill/>
                    <a:prstDash val="solid"/>
                  </a:ln>
                  <a:effectLst/>
                  <a:ex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b"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rgbClr val="FFFFFF"/>
                      </a:buClr>
                    </a:pPr>
                    <a:r>
                      <a:rPr lang="en-US" sz="600" b="1" dirty="0">
                        <a:solidFill>
                          <a:srgbClr val="008843"/>
                        </a:solidFill>
                      </a:rPr>
                      <a:t>Monitoring &amp; data</a:t>
                    </a:r>
                    <a:br>
                      <a:rPr lang="en-US" sz="600" b="1" dirty="0">
                        <a:solidFill>
                          <a:srgbClr val="008843"/>
                        </a:solidFill>
                      </a:rPr>
                    </a:br>
                    <a:r>
                      <a:rPr lang="en-US" sz="600" b="1" dirty="0">
                        <a:solidFill>
                          <a:srgbClr val="008843"/>
                        </a:solidFill>
                      </a:rPr>
                      <a:t>post processing</a:t>
                    </a:r>
                  </a:p>
                </p:txBody>
              </p:sp>
            </p:grpSp>
          </p:grpSp>
          <p:pic>
            <p:nvPicPr>
              <p:cNvPr id="816" name="Grafik 31">
                <a:extLst>
                  <a:ext uri="{FF2B5EF4-FFF2-40B4-BE49-F238E27FC236}">
                    <a16:creationId xmlns:a16="http://schemas.microsoft.com/office/drawing/2014/main" xmlns="" id="{471EB283-81E3-4D97-8F62-C02DB69049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3265" y="3479583"/>
                <a:ext cx="428306" cy="271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835" name="Rectangle 13">
            <a:extLst>
              <a:ext uri="{FF2B5EF4-FFF2-40B4-BE49-F238E27FC236}">
                <a16:creationId xmlns:a16="http://schemas.microsoft.com/office/drawing/2014/main" xmlns="" id="{C51168D3-4F25-4CB3-9658-E5F649CD0BDB}"/>
              </a:ext>
            </a:extLst>
          </p:cNvPr>
          <p:cNvSpPr/>
          <p:nvPr/>
        </p:nvSpPr>
        <p:spPr>
          <a:xfrm>
            <a:off x="2964208" y="2189157"/>
            <a:ext cx="2235635" cy="19971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7" tIns="54007" rIns="54000" bIns="54007" rtlCol="0" anchor="t">
            <a:noAutofit/>
          </a:bodyPr>
          <a:lstStyle/>
          <a:p>
            <a:pPr defTabSz="685800" fontAlgn="base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tabLst>
                <a:tab pos="1344216" algn="l"/>
                <a:tab pos="2552700" algn="l"/>
              </a:tabLst>
            </a:pPr>
            <a:r>
              <a:rPr lang="en-US" sz="900" b="1" dirty="0">
                <a:solidFill>
                  <a:srgbClr val="4AA432"/>
                </a:solidFill>
              </a:rPr>
              <a:t>NEXT Machine Management</a:t>
            </a:r>
            <a:endParaRPr lang="en-US" sz="900" dirty="0">
              <a:solidFill>
                <a:srgbClr val="4AA432"/>
              </a:solidFill>
            </a:endParaRPr>
          </a:p>
        </p:txBody>
      </p:sp>
      <p:sp>
        <p:nvSpPr>
          <p:cNvPr id="836" name="Trapezoid 835">
            <a:extLst>
              <a:ext uri="{FF2B5EF4-FFF2-40B4-BE49-F238E27FC236}">
                <a16:creationId xmlns:a16="http://schemas.microsoft.com/office/drawing/2014/main" xmlns="" id="{244A8FFC-C289-4A50-9BB4-56F1A465ECA6}"/>
              </a:ext>
            </a:extLst>
          </p:cNvPr>
          <p:cNvSpPr/>
          <p:nvPr/>
        </p:nvSpPr>
        <p:spPr>
          <a:xfrm>
            <a:off x="3587658" y="1938968"/>
            <a:ext cx="686675" cy="286140"/>
          </a:xfrm>
          <a:prstGeom prst="trapezoid">
            <a:avLst>
              <a:gd name="adj" fmla="val 88902"/>
            </a:avLst>
          </a:prstGeom>
          <a:noFill/>
          <a:ln w="12700" cap="flat" cmpd="sng" algn="ctr">
            <a:solidFill>
              <a:srgbClr val="4AA432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7" tIns="54007" rIns="54007" bIns="54007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endParaRPr lang="en-GB" sz="1350" dirty="0" err="1">
              <a:solidFill>
                <a:srgbClr val="FFFFFF"/>
              </a:solidFill>
            </a:endParaRPr>
          </a:p>
        </p:txBody>
      </p:sp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xmlns="" id="{6CC4A8D8-8A66-48ED-A6BF-F170E9BAC6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16" imgW="245" imgH="245" progId="TCLayout.ActiveDocument.1">
                  <p:embed/>
                </p:oleObj>
              </mc:Choice>
              <mc:Fallback>
                <p:oleObj name="think-cell Slide" r:id="rId16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xmlns="" id="{6DD9BF96-E67A-45F6-8BC1-141B2F8D69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endParaRPr lang="en-US" b="1" dirty="0" err="1">
              <a:solidFill>
                <a:srgbClr val="FFFFFF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B051561-3B34-48D1-BD1E-05D20D47263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14300"/>
            <a:ext cx="5921375" cy="7842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1800" b="1" dirty="0">
                <a:solidFill>
                  <a:srgbClr val="009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in class machine management solution with a strong and open partner network (</a:t>
            </a:r>
            <a:r>
              <a:rPr lang="en-US" sz="1800" b="1" dirty="0" err="1">
                <a:solidFill>
                  <a:srgbClr val="009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g</a:t>
            </a:r>
            <a:r>
              <a:rPr lang="en-US" sz="1800" b="1" dirty="0">
                <a:solidFill>
                  <a:srgbClr val="0096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de-DE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805E8946-62AD-457F-95A8-C67912CF343F}"/>
              </a:ext>
            </a:extLst>
          </p:cNvPr>
          <p:cNvSpPr/>
          <p:nvPr/>
        </p:nvSpPr>
        <p:spPr>
          <a:xfrm>
            <a:off x="403295" y="2150533"/>
            <a:ext cx="653439" cy="249957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accent4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7" tIns="54007" rIns="54007" bIns="54007" rtlCol="0" anchor="ctr">
            <a:noAutofit/>
          </a:bodyPr>
          <a:lstStyle/>
          <a:p>
            <a:pPr algn="r"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de-DE" sz="1050" b="1" dirty="0" err="1">
                <a:solidFill>
                  <a:srgbClr val="FFFFFF"/>
                </a:solidFill>
              </a:rPr>
              <a:t>aag</a:t>
            </a:r>
            <a:endParaRPr lang="de-DE" sz="1050" b="1" dirty="0">
              <a:solidFill>
                <a:srgbClr val="FFFFFF"/>
              </a:solidFill>
            </a:endParaRPr>
          </a:p>
        </p:txBody>
      </p:sp>
      <p:cxnSp>
        <p:nvCxnSpPr>
          <p:cNvPr id="57" name="Gerader Verbinder 7"/>
          <p:cNvCxnSpPr/>
          <p:nvPr/>
        </p:nvCxnSpPr>
        <p:spPr>
          <a:xfrm>
            <a:off x="2090050" y="3381840"/>
            <a:ext cx="0" cy="244352"/>
          </a:xfrm>
          <a:prstGeom prst="line">
            <a:avLst/>
          </a:prstGeom>
          <a:ln w="539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749"/>
          <p:cNvCxnSpPr/>
          <p:nvPr/>
        </p:nvCxnSpPr>
        <p:spPr>
          <a:xfrm flipH="1">
            <a:off x="1947946" y="3498452"/>
            <a:ext cx="274793" cy="0"/>
          </a:xfrm>
          <a:prstGeom prst="line">
            <a:avLst/>
          </a:prstGeom>
          <a:ln w="539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>
            <a:extLst/>
          </p:cNvPr>
          <p:cNvSpPr/>
          <p:nvPr/>
        </p:nvSpPr>
        <p:spPr>
          <a:xfrm>
            <a:off x="622757" y="1385091"/>
            <a:ext cx="1870278" cy="416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54000" bIns="0" anchor="t" anchorCtr="0">
            <a:noAutofit/>
          </a:bodyPr>
          <a:lstStyle/>
          <a:p>
            <a:pPr algn="r" defTabSz="685800" fontAlgn="base">
              <a:lnSpc>
                <a:spcPct val="10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>
                <a:solidFill>
                  <a:srgbClr val="666666">
                    <a:lumMod val="50000"/>
                  </a:srgbClr>
                </a:solidFill>
                <a:ea typeface="ＭＳ Ｐゴシック" pitchFamily="34" charset="-128"/>
              </a:rPr>
              <a:t>NEXT Machine Management application</a:t>
            </a:r>
          </a:p>
        </p:txBody>
      </p:sp>
      <p:pic>
        <p:nvPicPr>
          <p:cNvPr id="47" name="Grafik 31"/>
          <p:cNvPicPr>
            <a:picLocks noChangeAspect="1"/>
          </p:cNvPicPr>
          <p:nvPr/>
        </p:nvPicPr>
        <p:blipFill>
          <a:blip r:embed="rId1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248" y="3876043"/>
            <a:ext cx="933521" cy="591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6" name="Gruppieren 45"/>
          <p:cNvGrpSpPr/>
          <p:nvPr/>
        </p:nvGrpSpPr>
        <p:grpSpPr>
          <a:xfrm>
            <a:off x="5604339" y="-695613"/>
            <a:ext cx="4125235" cy="5399984"/>
            <a:chOff x="7266175" y="0"/>
            <a:chExt cx="4925825" cy="6041485"/>
          </a:xfrm>
        </p:grpSpPr>
        <p:sp>
          <p:nvSpPr>
            <p:cNvPr id="48" name="Rechteck 47"/>
            <p:cNvSpPr>
              <a:spLocks noChangeAspect="1"/>
            </p:cNvSpPr>
            <p:nvPr/>
          </p:nvSpPr>
          <p:spPr>
            <a:xfrm>
              <a:off x="7760511" y="5841196"/>
              <a:ext cx="159473" cy="141765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tIns="54007" rIns="0" bIns="54007" rtlCol="0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de-DE" sz="600" dirty="0">
                  <a:solidFill>
                    <a:srgbClr val="000000"/>
                  </a:solidFill>
                </a:rPr>
                <a:t>Limited </a:t>
              </a:r>
              <a:r>
                <a:rPr lang="de-DE" sz="600" dirty="0" err="1">
                  <a:solidFill>
                    <a:srgbClr val="000000"/>
                  </a:solidFill>
                </a:rPr>
                <a:t>scope</a:t>
              </a:r>
              <a:endParaRPr lang="de-DE" sz="600" dirty="0">
                <a:solidFill>
                  <a:srgbClr val="000000"/>
                </a:solidFill>
              </a:endParaRPr>
            </a:p>
          </p:txBody>
        </p:sp>
        <p:grpSp>
          <p:nvGrpSpPr>
            <p:cNvPr id="49" name="Gruppieren 48"/>
            <p:cNvGrpSpPr>
              <a:grpSpLocks noChangeAspect="1"/>
            </p:cNvGrpSpPr>
            <p:nvPr/>
          </p:nvGrpSpPr>
          <p:grpSpPr>
            <a:xfrm>
              <a:off x="7266175" y="0"/>
              <a:ext cx="4925825" cy="6041485"/>
              <a:chOff x="4636444" y="1498600"/>
              <a:chExt cx="3346450" cy="4718050"/>
            </a:xfrm>
          </p:grpSpPr>
          <p:sp>
            <p:nvSpPr>
              <p:cNvPr id="716" name="Freeform 8"/>
              <p:cNvSpPr>
                <a:spLocks/>
              </p:cNvSpPr>
              <p:nvPr/>
            </p:nvSpPr>
            <p:spPr bwMode="gray">
              <a:xfrm>
                <a:off x="6885932" y="4454525"/>
                <a:ext cx="1096962" cy="733425"/>
              </a:xfrm>
              <a:custGeom>
                <a:avLst/>
                <a:gdLst>
                  <a:gd name="T0" fmla="*/ 2147483647 w 833"/>
                  <a:gd name="T1" fmla="*/ 2147483647 h 557"/>
                  <a:gd name="T2" fmla="*/ 2147483647 w 833"/>
                  <a:gd name="T3" fmla="*/ 2147483647 h 557"/>
                  <a:gd name="T4" fmla="*/ 2147483647 w 833"/>
                  <a:gd name="T5" fmla="*/ 2147483647 h 557"/>
                  <a:gd name="T6" fmla="*/ 2147483647 w 833"/>
                  <a:gd name="T7" fmla="*/ 2147483647 h 557"/>
                  <a:gd name="T8" fmla="*/ 2147483647 w 833"/>
                  <a:gd name="T9" fmla="*/ 2147483647 h 557"/>
                  <a:gd name="T10" fmla="*/ 2147483647 w 833"/>
                  <a:gd name="T11" fmla="*/ 2147483647 h 557"/>
                  <a:gd name="T12" fmla="*/ 2147483647 w 833"/>
                  <a:gd name="T13" fmla="*/ 2147483647 h 557"/>
                  <a:gd name="T14" fmla="*/ 2147483647 w 833"/>
                  <a:gd name="T15" fmla="*/ 2147483647 h 557"/>
                  <a:gd name="T16" fmla="*/ 2147483647 w 833"/>
                  <a:gd name="T17" fmla="*/ 2147483647 h 557"/>
                  <a:gd name="T18" fmla="*/ 2147483647 w 833"/>
                  <a:gd name="T19" fmla="*/ 2147483647 h 557"/>
                  <a:gd name="T20" fmla="*/ 2147483647 w 833"/>
                  <a:gd name="T21" fmla="*/ 2147483647 h 557"/>
                  <a:gd name="T22" fmla="*/ 2147483647 w 833"/>
                  <a:gd name="T23" fmla="*/ 2147483647 h 557"/>
                  <a:gd name="T24" fmla="*/ 2147483647 w 833"/>
                  <a:gd name="T25" fmla="*/ 2147483647 h 557"/>
                  <a:gd name="T26" fmla="*/ 2147483647 w 833"/>
                  <a:gd name="T27" fmla="*/ 2147483647 h 557"/>
                  <a:gd name="T28" fmla="*/ 2147483647 w 833"/>
                  <a:gd name="T29" fmla="*/ 2147483647 h 557"/>
                  <a:gd name="T30" fmla="*/ 2147483647 w 833"/>
                  <a:gd name="T31" fmla="*/ 2147483647 h 557"/>
                  <a:gd name="T32" fmla="*/ 2147483647 w 833"/>
                  <a:gd name="T33" fmla="*/ 2147483647 h 557"/>
                  <a:gd name="T34" fmla="*/ 2147483647 w 833"/>
                  <a:gd name="T35" fmla="*/ 2147483647 h 557"/>
                  <a:gd name="T36" fmla="*/ 2147483647 w 833"/>
                  <a:gd name="T37" fmla="*/ 2147483647 h 557"/>
                  <a:gd name="T38" fmla="*/ 2147483647 w 833"/>
                  <a:gd name="T39" fmla="*/ 2147483647 h 557"/>
                  <a:gd name="T40" fmla="*/ 2147483647 w 833"/>
                  <a:gd name="T41" fmla="*/ 2147483647 h 557"/>
                  <a:gd name="T42" fmla="*/ 2147483647 w 833"/>
                  <a:gd name="T43" fmla="*/ 2147483647 h 557"/>
                  <a:gd name="T44" fmla="*/ 2147483647 w 833"/>
                  <a:gd name="T45" fmla="*/ 2147483647 h 557"/>
                  <a:gd name="T46" fmla="*/ 2147483647 w 833"/>
                  <a:gd name="T47" fmla="*/ 2147483647 h 557"/>
                  <a:gd name="T48" fmla="*/ 2147483647 w 833"/>
                  <a:gd name="T49" fmla="*/ 2147483647 h 557"/>
                  <a:gd name="T50" fmla="*/ 2147483647 w 833"/>
                  <a:gd name="T51" fmla="*/ 2147483647 h 557"/>
                  <a:gd name="T52" fmla="*/ 2147483647 w 833"/>
                  <a:gd name="T53" fmla="*/ 2147483647 h 557"/>
                  <a:gd name="T54" fmla="*/ 2147483647 w 833"/>
                  <a:gd name="T55" fmla="*/ 2147483647 h 557"/>
                  <a:gd name="T56" fmla="*/ 2147483647 w 833"/>
                  <a:gd name="T57" fmla="*/ 2147483647 h 557"/>
                  <a:gd name="T58" fmla="*/ 2147483647 w 833"/>
                  <a:gd name="T59" fmla="*/ 2147483647 h 557"/>
                  <a:gd name="T60" fmla="*/ 2147483647 w 833"/>
                  <a:gd name="T61" fmla="*/ 2147483647 h 557"/>
                  <a:gd name="T62" fmla="*/ 2147483647 w 833"/>
                  <a:gd name="T63" fmla="*/ 2147483647 h 557"/>
                  <a:gd name="T64" fmla="*/ 2147483647 w 833"/>
                  <a:gd name="T65" fmla="*/ 2147483647 h 557"/>
                  <a:gd name="T66" fmla="*/ 2147483647 w 833"/>
                  <a:gd name="T67" fmla="*/ 2147483647 h 557"/>
                  <a:gd name="T68" fmla="*/ 2147483647 w 833"/>
                  <a:gd name="T69" fmla="*/ 2147483647 h 557"/>
                  <a:gd name="T70" fmla="*/ 2147483647 w 833"/>
                  <a:gd name="T71" fmla="*/ 2147483647 h 557"/>
                  <a:gd name="T72" fmla="*/ 2147483647 w 833"/>
                  <a:gd name="T73" fmla="*/ 2147483647 h 557"/>
                  <a:gd name="T74" fmla="*/ 2147483647 w 833"/>
                  <a:gd name="T75" fmla="*/ 2147483647 h 557"/>
                  <a:gd name="T76" fmla="*/ 2147483647 w 833"/>
                  <a:gd name="T77" fmla="*/ 2147483647 h 557"/>
                  <a:gd name="T78" fmla="*/ 2147483647 w 833"/>
                  <a:gd name="T79" fmla="*/ 2147483647 h 557"/>
                  <a:gd name="T80" fmla="*/ 2147483647 w 833"/>
                  <a:gd name="T81" fmla="*/ 2147483647 h 557"/>
                  <a:gd name="T82" fmla="*/ 2147483647 w 833"/>
                  <a:gd name="T83" fmla="*/ 2147483647 h 557"/>
                  <a:gd name="T84" fmla="*/ 2147483647 w 833"/>
                  <a:gd name="T85" fmla="*/ 2147483647 h 557"/>
                  <a:gd name="T86" fmla="*/ 2147483647 w 833"/>
                  <a:gd name="T87" fmla="*/ 2147483647 h 557"/>
                  <a:gd name="T88" fmla="*/ 2147483647 w 833"/>
                  <a:gd name="T89" fmla="*/ 2147483647 h 557"/>
                  <a:gd name="T90" fmla="*/ 2147483647 w 833"/>
                  <a:gd name="T91" fmla="*/ 2147483647 h 557"/>
                  <a:gd name="T92" fmla="*/ 2147483647 w 833"/>
                  <a:gd name="T93" fmla="*/ 2147483647 h 557"/>
                  <a:gd name="T94" fmla="*/ 2147483647 w 833"/>
                  <a:gd name="T95" fmla="*/ 2147483647 h 55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833"/>
                  <a:gd name="T145" fmla="*/ 0 h 557"/>
                  <a:gd name="T146" fmla="*/ 833 w 833"/>
                  <a:gd name="T147" fmla="*/ 557 h 55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833" h="557">
                    <a:moveTo>
                      <a:pt x="798" y="30"/>
                    </a:moveTo>
                    <a:cubicBezTo>
                      <a:pt x="792" y="33"/>
                      <a:pt x="784" y="35"/>
                      <a:pt x="777" y="36"/>
                    </a:cubicBezTo>
                    <a:cubicBezTo>
                      <a:pt x="767" y="35"/>
                      <a:pt x="760" y="34"/>
                      <a:pt x="750" y="32"/>
                    </a:cubicBezTo>
                    <a:cubicBezTo>
                      <a:pt x="740" y="27"/>
                      <a:pt x="725" y="29"/>
                      <a:pt x="714" y="27"/>
                    </a:cubicBezTo>
                    <a:cubicBezTo>
                      <a:pt x="709" y="23"/>
                      <a:pt x="706" y="19"/>
                      <a:pt x="702" y="15"/>
                    </a:cubicBezTo>
                    <a:cubicBezTo>
                      <a:pt x="699" y="0"/>
                      <a:pt x="695" y="5"/>
                      <a:pt x="677" y="6"/>
                    </a:cubicBezTo>
                    <a:cubicBezTo>
                      <a:pt x="666" y="10"/>
                      <a:pt x="674" y="8"/>
                      <a:pt x="653" y="11"/>
                    </a:cubicBezTo>
                    <a:cubicBezTo>
                      <a:pt x="651" y="11"/>
                      <a:pt x="647" y="12"/>
                      <a:pt x="647" y="12"/>
                    </a:cubicBezTo>
                    <a:cubicBezTo>
                      <a:pt x="638" y="16"/>
                      <a:pt x="638" y="17"/>
                      <a:pt x="627" y="18"/>
                    </a:cubicBezTo>
                    <a:cubicBezTo>
                      <a:pt x="617" y="23"/>
                      <a:pt x="605" y="22"/>
                      <a:pt x="594" y="24"/>
                    </a:cubicBezTo>
                    <a:cubicBezTo>
                      <a:pt x="578" y="32"/>
                      <a:pt x="563" y="28"/>
                      <a:pt x="548" y="39"/>
                    </a:cubicBezTo>
                    <a:cubicBezTo>
                      <a:pt x="544" y="48"/>
                      <a:pt x="535" y="56"/>
                      <a:pt x="530" y="65"/>
                    </a:cubicBezTo>
                    <a:cubicBezTo>
                      <a:pt x="528" y="91"/>
                      <a:pt x="536" y="94"/>
                      <a:pt x="519" y="101"/>
                    </a:cubicBezTo>
                    <a:cubicBezTo>
                      <a:pt x="515" y="106"/>
                      <a:pt x="512" y="108"/>
                      <a:pt x="507" y="111"/>
                    </a:cubicBezTo>
                    <a:cubicBezTo>
                      <a:pt x="498" y="110"/>
                      <a:pt x="494" y="111"/>
                      <a:pt x="489" y="104"/>
                    </a:cubicBezTo>
                    <a:cubicBezTo>
                      <a:pt x="471" y="105"/>
                      <a:pt x="465" y="108"/>
                      <a:pt x="450" y="111"/>
                    </a:cubicBezTo>
                    <a:cubicBezTo>
                      <a:pt x="438" y="120"/>
                      <a:pt x="429" y="106"/>
                      <a:pt x="417" y="104"/>
                    </a:cubicBezTo>
                    <a:cubicBezTo>
                      <a:pt x="411" y="101"/>
                      <a:pt x="403" y="99"/>
                      <a:pt x="396" y="98"/>
                    </a:cubicBezTo>
                    <a:cubicBezTo>
                      <a:pt x="388" y="94"/>
                      <a:pt x="381" y="92"/>
                      <a:pt x="372" y="90"/>
                    </a:cubicBezTo>
                    <a:cubicBezTo>
                      <a:pt x="366" y="93"/>
                      <a:pt x="361" y="98"/>
                      <a:pt x="354" y="99"/>
                    </a:cubicBezTo>
                    <a:cubicBezTo>
                      <a:pt x="349" y="102"/>
                      <a:pt x="345" y="104"/>
                      <a:pt x="339" y="105"/>
                    </a:cubicBezTo>
                    <a:cubicBezTo>
                      <a:pt x="329" y="95"/>
                      <a:pt x="334" y="97"/>
                      <a:pt x="324" y="95"/>
                    </a:cubicBezTo>
                    <a:cubicBezTo>
                      <a:pt x="310" y="84"/>
                      <a:pt x="296" y="84"/>
                      <a:pt x="278" y="83"/>
                    </a:cubicBezTo>
                    <a:cubicBezTo>
                      <a:pt x="264" y="78"/>
                      <a:pt x="251" y="76"/>
                      <a:pt x="236" y="74"/>
                    </a:cubicBezTo>
                    <a:cubicBezTo>
                      <a:pt x="225" y="69"/>
                      <a:pt x="213" y="69"/>
                      <a:pt x="201" y="68"/>
                    </a:cubicBezTo>
                    <a:cubicBezTo>
                      <a:pt x="177" y="69"/>
                      <a:pt x="153" y="70"/>
                      <a:pt x="129" y="72"/>
                    </a:cubicBezTo>
                    <a:cubicBezTo>
                      <a:pt x="123" y="75"/>
                      <a:pt x="120" y="78"/>
                      <a:pt x="117" y="83"/>
                    </a:cubicBezTo>
                    <a:cubicBezTo>
                      <a:pt x="116" y="91"/>
                      <a:pt x="116" y="100"/>
                      <a:pt x="108" y="102"/>
                    </a:cubicBezTo>
                    <a:cubicBezTo>
                      <a:pt x="102" y="105"/>
                      <a:pt x="100" y="104"/>
                      <a:pt x="96" y="110"/>
                    </a:cubicBezTo>
                    <a:cubicBezTo>
                      <a:pt x="99" y="129"/>
                      <a:pt x="96" y="123"/>
                      <a:pt x="101" y="132"/>
                    </a:cubicBezTo>
                    <a:cubicBezTo>
                      <a:pt x="104" y="146"/>
                      <a:pt x="104" y="143"/>
                      <a:pt x="105" y="165"/>
                    </a:cubicBezTo>
                    <a:cubicBezTo>
                      <a:pt x="103" y="182"/>
                      <a:pt x="89" y="171"/>
                      <a:pt x="74" y="170"/>
                    </a:cubicBezTo>
                    <a:cubicBezTo>
                      <a:pt x="65" y="166"/>
                      <a:pt x="60" y="167"/>
                      <a:pt x="50" y="168"/>
                    </a:cubicBezTo>
                    <a:cubicBezTo>
                      <a:pt x="51" y="205"/>
                      <a:pt x="62" y="214"/>
                      <a:pt x="33" y="219"/>
                    </a:cubicBezTo>
                    <a:cubicBezTo>
                      <a:pt x="28" y="222"/>
                      <a:pt x="24" y="224"/>
                      <a:pt x="18" y="225"/>
                    </a:cubicBezTo>
                    <a:cubicBezTo>
                      <a:pt x="16" y="235"/>
                      <a:pt x="14" y="254"/>
                      <a:pt x="14" y="254"/>
                    </a:cubicBezTo>
                    <a:cubicBezTo>
                      <a:pt x="13" y="275"/>
                      <a:pt x="17" y="289"/>
                      <a:pt x="0" y="299"/>
                    </a:cubicBezTo>
                    <a:cubicBezTo>
                      <a:pt x="1" y="308"/>
                      <a:pt x="5" y="314"/>
                      <a:pt x="6" y="323"/>
                    </a:cubicBezTo>
                    <a:cubicBezTo>
                      <a:pt x="4" y="332"/>
                      <a:pt x="2" y="334"/>
                      <a:pt x="8" y="342"/>
                    </a:cubicBezTo>
                    <a:cubicBezTo>
                      <a:pt x="10" y="360"/>
                      <a:pt x="11" y="354"/>
                      <a:pt x="36" y="353"/>
                    </a:cubicBezTo>
                    <a:cubicBezTo>
                      <a:pt x="43" y="351"/>
                      <a:pt x="47" y="348"/>
                      <a:pt x="53" y="347"/>
                    </a:cubicBezTo>
                    <a:cubicBezTo>
                      <a:pt x="63" y="342"/>
                      <a:pt x="71" y="352"/>
                      <a:pt x="81" y="354"/>
                    </a:cubicBezTo>
                    <a:cubicBezTo>
                      <a:pt x="93" y="359"/>
                      <a:pt x="104" y="358"/>
                      <a:pt x="117" y="359"/>
                    </a:cubicBezTo>
                    <a:cubicBezTo>
                      <a:pt x="139" y="363"/>
                      <a:pt x="117" y="362"/>
                      <a:pt x="164" y="360"/>
                    </a:cubicBezTo>
                    <a:cubicBezTo>
                      <a:pt x="171" y="359"/>
                      <a:pt x="178" y="357"/>
                      <a:pt x="185" y="356"/>
                    </a:cubicBezTo>
                    <a:cubicBezTo>
                      <a:pt x="193" y="352"/>
                      <a:pt x="201" y="347"/>
                      <a:pt x="209" y="342"/>
                    </a:cubicBezTo>
                    <a:cubicBezTo>
                      <a:pt x="215" y="330"/>
                      <a:pt x="224" y="336"/>
                      <a:pt x="237" y="338"/>
                    </a:cubicBezTo>
                    <a:cubicBezTo>
                      <a:pt x="244" y="344"/>
                      <a:pt x="244" y="351"/>
                      <a:pt x="251" y="357"/>
                    </a:cubicBezTo>
                    <a:cubicBezTo>
                      <a:pt x="252" y="364"/>
                      <a:pt x="256" y="364"/>
                      <a:pt x="260" y="369"/>
                    </a:cubicBezTo>
                    <a:cubicBezTo>
                      <a:pt x="262" y="380"/>
                      <a:pt x="286" y="416"/>
                      <a:pt x="296" y="422"/>
                    </a:cubicBezTo>
                    <a:cubicBezTo>
                      <a:pt x="302" y="430"/>
                      <a:pt x="308" y="437"/>
                      <a:pt x="314" y="446"/>
                    </a:cubicBezTo>
                    <a:cubicBezTo>
                      <a:pt x="312" y="481"/>
                      <a:pt x="294" y="535"/>
                      <a:pt x="324" y="557"/>
                    </a:cubicBezTo>
                    <a:cubicBezTo>
                      <a:pt x="346" y="555"/>
                      <a:pt x="361" y="553"/>
                      <a:pt x="384" y="552"/>
                    </a:cubicBezTo>
                    <a:cubicBezTo>
                      <a:pt x="405" y="524"/>
                      <a:pt x="377" y="482"/>
                      <a:pt x="392" y="452"/>
                    </a:cubicBezTo>
                    <a:cubicBezTo>
                      <a:pt x="393" y="447"/>
                      <a:pt x="398" y="437"/>
                      <a:pt x="398" y="437"/>
                    </a:cubicBezTo>
                    <a:cubicBezTo>
                      <a:pt x="401" y="423"/>
                      <a:pt x="420" y="410"/>
                      <a:pt x="434" y="407"/>
                    </a:cubicBezTo>
                    <a:cubicBezTo>
                      <a:pt x="438" y="405"/>
                      <a:pt x="443" y="404"/>
                      <a:pt x="447" y="402"/>
                    </a:cubicBezTo>
                    <a:cubicBezTo>
                      <a:pt x="454" y="413"/>
                      <a:pt x="446" y="426"/>
                      <a:pt x="461" y="429"/>
                    </a:cubicBezTo>
                    <a:cubicBezTo>
                      <a:pt x="468" y="434"/>
                      <a:pt x="474" y="440"/>
                      <a:pt x="482" y="443"/>
                    </a:cubicBezTo>
                    <a:cubicBezTo>
                      <a:pt x="497" y="437"/>
                      <a:pt x="490" y="438"/>
                      <a:pt x="503" y="437"/>
                    </a:cubicBezTo>
                    <a:cubicBezTo>
                      <a:pt x="509" y="434"/>
                      <a:pt x="516" y="435"/>
                      <a:pt x="522" y="432"/>
                    </a:cubicBezTo>
                    <a:cubicBezTo>
                      <a:pt x="531" y="433"/>
                      <a:pt x="544" y="429"/>
                      <a:pt x="548" y="437"/>
                    </a:cubicBezTo>
                    <a:cubicBezTo>
                      <a:pt x="550" y="440"/>
                      <a:pt x="545" y="443"/>
                      <a:pt x="543" y="446"/>
                    </a:cubicBezTo>
                    <a:cubicBezTo>
                      <a:pt x="536" y="454"/>
                      <a:pt x="528" y="461"/>
                      <a:pt x="521" y="468"/>
                    </a:cubicBezTo>
                    <a:cubicBezTo>
                      <a:pt x="519" y="470"/>
                      <a:pt x="513" y="477"/>
                      <a:pt x="516" y="477"/>
                    </a:cubicBezTo>
                    <a:cubicBezTo>
                      <a:pt x="522" y="478"/>
                      <a:pt x="530" y="471"/>
                      <a:pt x="534" y="468"/>
                    </a:cubicBezTo>
                    <a:cubicBezTo>
                      <a:pt x="567" y="471"/>
                      <a:pt x="559" y="470"/>
                      <a:pt x="581" y="483"/>
                    </a:cubicBezTo>
                    <a:cubicBezTo>
                      <a:pt x="582" y="489"/>
                      <a:pt x="587" y="500"/>
                      <a:pt x="587" y="500"/>
                    </a:cubicBezTo>
                    <a:cubicBezTo>
                      <a:pt x="589" y="509"/>
                      <a:pt x="594" y="514"/>
                      <a:pt x="602" y="518"/>
                    </a:cubicBezTo>
                    <a:cubicBezTo>
                      <a:pt x="606" y="520"/>
                      <a:pt x="614" y="524"/>
                      <a:pt x="614" y="524"/>
                    </a:cubicBezTo>
                    <a:cubicBezTo>
                      <a:pt x="616" y="523"/>
                      <a:pt x="619" y="524"/>
                      <a:pt x="621" y="522"/>
                    </a:cubicBezTo>
                    <a:cubicBezTo>
                      <a:pt x="624" y="519"/>
                      <a:pt x="626" y="512"/>
                      <a:pt x="626" y="512"/>
                    </a:cubicBezTo>
                    <a:cubicBezTo>
                      <a:pt x="628" y="503"/>
                      <a:pt x="631" y="495"/>
                      <a:pt x="639" y="489"/>
                    </a:cubicBezTo>
                    <a:cubicBezTo>
                      <a:pt x="648" y="471"/>
                      <a:pt x="707" y="477"/>
                      <a:pt x="723" y="476"/>
                    </a:cubicBezTo>
                    <a:cubicBezTo>
                      <a:pt x="734" y="470"/>
                      <a:pt x="721" y="457"/>
                      <a:pt x="713" y="452"/>
                    </a:cubicBezTo>
                    <a:cubicBezTo>
                      <a:pt x="710" y="450"/>
                      <a:pt x="704" y="449"/>
                      <a:pt x="701" y="449"/>
                    </a:cubicBezTo>
                    <a:cubicBezTo>
                      <a:pt x="665" y="451"/>
                      <a:pt x="684" y="451"/>
                      <a:pt x="665" y="437"/>
                    </a:cubicBezTo>
                    <a:cubicBezTo>
                      <a:pt x="657" y="424"/>
                      <a:pt x="640" y="421"/>
                      <a:pt x="626" y="419"/>
                    </a:cubicBezTo>
                    <a:cubicBezTo>
                      <a:pt x="614" y="414"/>
                      <a:pt x="610" y="413"/>
                      <a:pt x="621" y="408"/>
                    </a:cubicBezTo>
                    <a:cubicBezTo>
                      <a:pt x="625" y="403"/>
                      <a:pt x="628" y="399"/>
                      <a:pt x="633" y="395"/>
                    </a:cubicBezTo>
                    <a:cubicBezTo>
                      <a:pt x="638" y="387"/>
                      <a:pt x="653" y="376"/>
                      <a:pt x="662" y="374"/>
                    </a:cubicBezTo>
                    <a:cubicBezTo>
                      <a:pt x="671" y="370"/>
                      <a:pt x="681" y="364"/>
                      <a:pt x="690" y="362"/>
                    </a:cubicBezTo>
                    <a:cubicBezTo>
                      <a:pt x="701" y="355"/>
                      <a:pt x="711" y="349"/>
                      <a:pt x="722" y="342"/>
                    </a:cubicBezTo>
                    <a:cubicBezTo>
                      <a:pt x="726" y="337"/>
                      <a:pt x="729" y="335"/>
                      <a:pt x="734" y="332"/>
                    </a:cubicBezTo>
                    <a:cubicBezTo>
                      <a:pt x="738" y="327"/>
                      <a:pt x="742" y="325"/>
                      <a:pt x="746" y="320"/>
                    </a:cubicBezTo>
                    <a:cubicBezTo>
                      <a:pt x="748" y="312"/>
                      <a:pt x="750" y="310"/>
                      <a:pt x="758" y="308"/>
                    </a:cubicBezTo>
                    <a:cubicBezTo>
                      <a:pt x="757" y="297"/>
                      <a:pt x="758" y="287"/>
                      <a:pt x="753" y="278"/>
                    </a:cubicBezTo>
                    <a:cubicBezTo>
                      <a:pt x="756" y="271"/>
                      <a:pt x="763" y="264"/>
                      <a:pt x="770" y="263"/>
                    </a:cubicBezTo>
                    <a:cubicBezTo>
                      <a:pt x="775" y="259"/>
                      <a:pt x="776" y="256"/>
                      <a:pt x="779" y="251"/>
                    </a:cubicBezTo>
                    <a:cubicBezTo>
                      <a:pt x="781" y="212"/>
                      <a:pt x="795" y="217"/>
                      <a:pt x="833" y="213"/>
                    </a:cubicBezTo>
                    <a:cubicBezTo>
                      <a:pt x="830" y="207"/>
                      <a:pt x="819" y="197"/>
                      <a:pt x="819" y="197"/>
                    </a:cubicBezTo>
                    <a:cubicBezTo>
                      <a:pt x="817" y="187"/>
                      <a:pt x="814" y="178"/>
                      <a:pt x="810" y="168"/>
                    </a:cubicBezTo>
                    <a:cubicBezTo>
                      <a:pt x="809" y="159"/>
                      <a:pt x="807" y="150"/>
                      <a:pt x="806" y="141"/>
                    </a:cubicBezTo>
                    <a:cubicBezTo>
                      <a:pt x="807" y="123"/>
                      <a:pt x="804" y="123"/>
                      <a:pt x="816" y="114"/>
                    </a:cubicBezTo>
                    <a:cubicBezTo>
                      <a:pt x="811" y="107"/>
                      <a:pt x="804" y="101"/>
                      <a:pt x="801" y="93"/>
                    </a:cubicBezTo>
                    <a:cubicBezTo>
                      <a:pt x="798" y="77"/>
                      <a:pt x="798" y="85"/>
                      <a:pt x="800" y="60"/>
                    </a:cubicBezTo>
                    <a:cubicBezTo>
                      <a:pt x="799" y="52"/>
                      <a:pt x="795" y="38"/>
                      <a:pt x="798" y="30"/>
                    </a:cubicBez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17" name="Freeform 10"/>
              <p:cNvSpPr>
                <a:spLocks/>
              </p:cNvSpPr>
              <p:nvPr/>
            </p:nvSpPr>
            <p:spPr bwMode="gray">
              <a:xfrm>
                <a:off x="7133582" y="5507038"/>
                <a:ext cx="280987" cy="204787"/>
              </a:xfrm>
              <a:custGeom>
                <a:avLst/>
                <a:gdLst>
                  <a:gd name="T0" fmla="*/ 2147483647 w 58"/>
                  <a:gd name="T1" fmla="*/ 2147483647 h 77"/>
                  <a:gd name="T2" fmla="*/ 2147483647 w 58"/>
                  <a:gd name="T3" fmla="*/ 2147483647 h 77"/>
                  <a:gd name="T4" fmla="*/ 2147483647 w 58"/>
                  <a:gd name="T5" fmla="*/ 2147483647 h 77"/>
                  <a:gd name="T6" fmla="*/ 2147483647 w 58"/>
                  <a:gd name="T7" fmla="*/ 2147483647 h 77"/>
                  <a:gd name="T8" fmla="*/ 2147483647 w 58"/>
                  <a:gd name="T9" fmla="*/ 0 h 77"/>
                  <a:gd name="T10" fmla="*/ 2147483647 w 58"/>
                  <a:gd name="T11" fmla="*/ 2147483647 h 77"/>
                  <a:gd name="T12" fmla="*/ 2147483647 w 58"/>
                  <a:gd name="T13" fmla="*/ 2147483647 h 77"/>
                  <a:gd name="T14" fmla="*/ 2147483647 w 58"/>
                  <a:gd name="T15" fmla="*/ 2147483647 h 77"/>
                  <a:gd name="T16" fmla="*/ 2147483647 w 58"/>
                  <a:gd name="T17" fmla="*/ 2147483647 h 77"/>
                  <a:gd name="T18" fmla="*/ 2147483647 w 58"/>
                  <a:gd name="T19" fmla="*/ 2147483647 h 77"/>
                  <a:gd name="T20" fmla="*/ 2147483647 w 58"/>
                  <a:gd name="T21" fmla="*/ 2147483647 h 77"/>
                  <a:gd name="T22" fmla="*/ 2147483647 w 58"/>
                  <a:gd name="T23" fmla="*/ 2147483647 h 77"/>
                  <a:gd name="T24" fmla="*/ 2147483647 w 58"/>
                  <a:gd name="T25" fmla="*/ 2147483647 h 77"/>
                  <a:gd name="T26" fmla="*/ 2147483647 w 58"/>
                  <a:gd name="T27" fmla="*/ 2147483647 h 77"/>
                  <a:gd name="T28" fmla="*/ 2147483647 w 58"/>
                  <a:gd name="T29" fmla="*/ 2147483647 h 77"/>
                  <a:gd name="T30" fmla="*/ 0 w 58"/>
                  <a:gd name="T31" fmla="*/ 2147483647 h 77"/>
                  <a:gd name="T32" fmla="*/ 2147483647 w 58"/>
                  <a:gd name="T33" fmla="*/ 2147483647 h 7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8"/>
                  <a:gd name="T52" fmla="*/ 0 h 77"/>
                  <a:gd name="T53" fmla="*/ 58 w 58"/>
                  <a:gd name="T54" fmla="*/ 77 h 7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8" h="77">
                    <a:moveTo>
                      <a:pt x="8" y="46"/>
                    </a:moveTo>
                    <a:lnTo>
                      <a:pt x="9" y="33"/>
                    </a:lnTo>
                    <a:lnTo>
                      <a:pt x="17" y="25"/>
                    </a:lnTo>
                    <a:lnTo>
                      <a:pt x="12" y="16"/>
                    </a:lnTo>
                    <a:lnTo>
                      <a:pt x="29" y="0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56" y="46"/>
                    </a:lnTo>
                    <a:lnTo>
                      <a:pt x="51" y="45"/>
                    </a:lnTo>
                    <a:lnTo>
                      <a:pt x="42" y="48"/>
                    </a:lnTo>
                    <a:lnTo>
                      <a:pt x="23" y="46"/>
                    </a:lnTo>
                    <a:lnTo>
                      <a:pt x="13" y="62"/>
                    </a:lnTo>
                    <a:lnTo>
                      <a:pt x="8" y="67"/>
                    </a:lnTo>
                    <a:lnTo>
                      <a:pt x="2" y="77"/>
                    </a:lnTo>
                    <a:lnTo>
                      <a:pt x="2" y="67"/>
                    </a:lnTo>
                    <a:lnTo>
                      <a:pt x="0" y="58"/>
                    </a:lnTo>
                    <a:lnTo>
                      <a:pt x="8" y="46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18" name="Freeform 11"/>
              <p:cNvSpPr>
                <a:spLocks/>
              </p:cNvSpPr>
              <p:nvPr/>
            </p:nvSpPr>
            <p:spPr bwMode="gray">
              <a:xfrm>
                <a:off x="6963719" y="3940175"/>
                <a:ext cx="704850" cy="671513"/>
              </a:xfrm>
              <a:custGeom>
                <a:avLst/>
                <a:gdLst>
                  <a:gd name="T0" fmla="*/ 2147483647 w 148"/>
                  <a:gd name="T1" fmla="*/ 2147483647 h 253"/>
                  <a:gd name="T2" fmla="*/ 2147483647 w 148"/>
                  <a:gd name="T3" fmla="*/ 2147483647 h 253"/>
                  <a:gd name="T4" fmla="*/ 2147483647 w 148"/>
                  <a:gd name="T5" fmla="*/ 2147483647 h 253"/>
                  <a:gd name="T6" fmla="*/ 2147483647 w 148"/>
                  <a:gd name="T7" fmla="*/ 2147483647 h 253"/>
                  <a:gd name="T8" fmla="*/ 2147483647 w 148"/>
                  <a:gd name="T9" fmla="*/ 2147483647 h 253"/>
                  <a:gd name="T10" fmla="*/ 2147483647 w 148"/>
                  <a:gd name="T11" fmla="*/ 2147483647 h 253"/>
                  <a:gd name="T12" fmla="*/ 2147483647 w 148"/>
                  <a:gd name="T13" fmla="*/ 2147483647 h 253"/>
                  <a:gd name="T14" fmla="*/ 2147483647 w 148"/>
                  <a:gd name="T15" fmla="*/ 2147483647 h 253"/>
                  <a:gd name="T16" fmla="*/ 2147483647 w 148"/>
                  <a:gd name="T17" fmla="*/ 2147483647 h 253"/>
                  <a:gd name="T18" fmla="*/ 2147483647 w 148"/>
                  <a:gd name="T19" fmla="*/ 2147483647 h 253"/>
                  <a:gd name="T20" fmla="*/ 2147483647 w 148"/>
                  <a:gd name="T21" fmla="*/ 2147483647 h 253"/>
                  <a:gd name="T22" fmla="*/ 2147483647 w 148"/>
                  <a:gd name="T23" fmla="*/ 2147483647 h 253"/>
                  <a:gd name="T24" fmla="*/ 2147483647 w 148"/>
                  <a:gd name="T25" fmla="*/ 2147483647 h 253"/>
                  <a:gd name="T26" fmla="*/ 2147483647 w 148"/>
                  <a:gd name="T27" fmla="*/ 2147483647 h 253"/>
                  <a:gd name="T28" fmla="*/ 2147483647 w 148"/>
                  <a:gd name="T29" fmla="*/ 2147483647 h 253"/>
                  <a:gd name="T30" fmla="*/ 2147483647 w 148"/>
                  <a:gd name="T31" fmla="*/ 2147483647 h 253"/>
                  <a:gd name="T32" fmla="*/ 2147483647 w 148"/>
                  <a:gd name="T33" fmla="*/ 2147483647 h 253"/>
                  <a:gd name="T34" fmla="*/ 2147483647 w 148"/>
                  <a:gd name="T35" fmla="*/ 0 h 253"/>
                  <a:gd name="T36" fmla="*/ 2147483647 w 148"/>
                  <a:gd name="T37" fmla="*/ 2147483647 h 253"/>
                  <a:gd name="T38" fmla="*/ 2147483647 w 148"/>
                  <a:gd name="T39" fmla="*/ 2147483647 h 253"/>
                  <a:gd name="T40" fmla="*/ 2147483647 w 148"/>
                  <a:gd name="T41" fmla="*/ 2147483647 h 253"/>
                  <a:gd name="T42" fmla="*/ 2147483647 w 148"/>
                  <a:gd name="T43" fmla="*/ 2147483647 h 253"/>
                  <a:gd name="T44" fmla="*/ 2147483647 w 148"/>
                  <a:gd name="T45" fmla="*/ 2147483647 h 253"/>
                  <a:gd name="T46" fmla="*/ 2147483647 w 148"/>
                  <a:gd name="T47" fmla="*/ 2147483647 h 253"/>
                  <a:gd name="T48" fmla="*/ 2147483647 w 148"/>
                  <a:gd name="T49" fmla="*/ 2147483647 h 253"/>
                  <a:gd name="T50" fmla="*/ 2147483647 w 148"/>
                  <a:gd name="T51" fmla="*/ 2147483647 h 253"/>
                  <a:gd name="T52" fmla="*/ 0 w 148"/>
                  <a:gd name="T53" fmla="*/ 2147483647 h 253"/>
                  <a:gd name="T54" fmla="*/ 0 w 148"/>
                  <a:gd name="T55" fmla="*/ 2147483647 h 253"/>
                  <a:gd name="T56" fmla="*/ 2147483647 w 148"/>
                  <a:gd name="T57" fmla="*/ 2147483647 h 253"/>
                  <a:gd name="T58" fmla="*/ 2147483647 w 148"/>
                  <a:gd name="T59" fmla="*/ 2147483647 h 253"/>
                  <a:gd name="T60" fmla="*/ 2147483647 w 148"/>
                  <a:gd name="T61" fmla="*/ 2147483647 h 253"/>
                  <a:gd name="T62" fmla="*/ 2147483647 w 148"/>
                  <a:gd name="T63" fmla="*/ 2147483647 h 253"/>
                  <a:gd name="T64" fmla="*/ 2147483647 w 148"/>
                  <a:gd name="T65" fmla="*/ 2147483647 h 253"/>
                  <a:gd name="T66" fmla="*/ 2147483647 w 148"/>
                  <a:gd name="T67" fmla="*/ 2147483647 h 253"/>
                  <a:gd name="T68" fmla="*/ 2147483647 w 148"/>
                  <a:gd name="T69" fmla="*/ 2147483647 h 253"/>
                  <a:gd name="T70" fmla="*/ 2147483647 w 148"/>
                  <a:gd name="T71" fmla="*/ 2147483647 h 253"/>
                  <a:gd name="T72" fmla="*/ 2147483647 w 148"/>
                  <a:gd name="T73" fmla="*/ 2147483647 h 253"/>
                  <a:gd name="T74" fmla="*/ 2147483647 w 148"/>
                  <a:gd name="T75" fmla="*/ 2147483647 h 253"/>
                  <a:gd name="T76" fmla="*/ 2147483647 w 148"/>
                  <a:gd name="T77" fmla="*/ 2147483647 h 253"/>
                  <a:gd name="T78" fmla="*/ 2147483647 w 148"/>
                  <a:gd name="T79" fmla="*/ 2147483647 h 253"/>
                  <a:gd name="T80" fmla="*/ 2147483647 w 148"/>
                  <a:gd name="T81" fmla="*/ 2147483647 h 253"/>
                  <a:gd name="T82" fmla="*/ 2147483647 w 148"/>
                  <a:gd name="T83" fmla="*/ 2147483647 h 253"/>
                  <a:gd name="T84" fmla="*/ 2147483647 w 148"/>
                  <a:gd name="T85" fmla="*/ 2147483647 h 253"/>
                  <a:gd name="T86" fmla="*/ 2147483647 w 148"/>
                  <a:gd name="T87" fmla="*/ 2147483647 h 25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48"/>
                  <a:gd name="T133" fmla="*/ 0 h 253"/>
                  <a:gd name="T134" fmla="*/ 148 w 148"/>
                  <a:gd name="T135" fmla="*/ 253 h 25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48" h="253">
                    <a:moveTo>
                      <a:pt x="148" y="205"/>
                    </a:moveTo>
                    <a:lnTo>
                      <a:pt x="147" y="195"/>
                    </a:lnTo>
                    <a:lnTo>
                      <a:pt x="139" y="184"/>
                    </a:lnTo>
                    <a:lnTo>
                      <a:pt x="138" y="172"/>
                    </a:lnTo>
                    <a:lnTo>
                      <a:pt x="132" y="151"/>
                    </a:lnTo>
                    <a:lnTo>
                      <a:pt x="138" y="145"/>
                    </a:lnTo>
                    <a:lnTo>
                      <a:pt x="141" y="128"/>
                    </a:lnTo>
                    <a:lnTo>
                      <a:pt x="127" y="117"/>
                    </a:lnTo>
                    <a:lnTo>
                      <a:pt x="115" y="103"/>
                    </a:lnTo>
                    <a:lnTo>
                      <a:pt x="114" y="86"/>
                    </a:lnTo>
                    <a:lnTo>
                      <a:pt x="98" y="63"/>
                    </a:lnTo>
                    <a:lnTo>
                      <a:pt x="98" y="55"/>
                    </a:lnTo>
                    <a:lnTo>
                      <a:pt x="88" y="44"/>
                    </a:lnTo>
                    <a:lnTo>
                      <a:pt x="76" y="44"/>
                    </a:lnTo>
                    <a:lnTo>
                      <a:pt x="76" y="30"/>
                    </a:lnTo>
                    <a:lnTo>
                      <a:pt x="68" y="17"/>
                    </a:lnTo>
                    <a:lnTo>
                      <a:pt x="58" y="15"/>
                    </a:lnTo>
                    <a:lnTo>
                      <a:pt x="52" y="0"/>
                    </a:lnTo>
                    <a:lnTo>
                      <a:pt x="39" y="13"/>
                    </a:lnTo>
                    <a:lnTo>
                      <a:pt x="36" y="27"/>
                    </a:lnTo>
                    <a:lnTo>
                      <a:pt x="42" y="53"/>
                    </a:lnTo>
                    <a:lnTo>
                      <a:pt x="33" y="71"/>
                    </a:lnTo>
                    <a:lnTo>
                      <a:pt x="27" y="88"/>
                    </a:lnTo>
                    <a:lnTo>
                      <a:pt x="27" y="115"/>
                    </a:lnTo>
                    <a:lnTo>
                      <a:pt x="17" y="117"/>
                    </a:lnTo>
                    <a:lnTo>
                      <a:pt x="14" y="132"/>
                    </a:lnTo>
                    <a:lnTo>
                      <a:pt x="0" y="142"/>
                    </a:lnTo>
                    <a:lnTo>
                      <a:pt x="0" y="203"/>
                    </a:lnTo>
                    <a:lnTo>
                      <a:pt x="9" y="247"/>
                    </a:lnTo>
                    <a:lnTo>
                      <a:pt x="17" y="245"/>
                    </a:lnTo>
                    <a:lnTo>
                      <a:pt x="18" y="232"/>
                    </a:lnTo>
                    <a:lnTo>
                      <a:pt x="33" y="228"/>
                    </a:lnTo>
                    <a:lnTo>
                      <a:pt x="51" y="230"/>
                    </a:lnTo>
                    <a:lnTo>
                      <a:pt x="69" y="237"/>
                    </a:lnTo>
                    <a:lnTo>
                      <a:pt x="78" y="247"/>
                    </a:lnTo>
                    <a:lnTo>
                      <a:pt x="89" y="239"/>
                    </a:lnTo>
                    <a:lnTo>
                      <a:pt x="97" y="245"/>
                    </a:lnTo>
                    <a:lnTo>
                      <a:pt x="107" y="253"/>
                    </a:lnTo>
                    <a:lnTo>
                      <a:pt x="118" y="245"/>
                    </a:lnTo>
                    <a:lnTo>
                      <a:pt x="125" y="251"/>
                    </a:lnTo>
                    <a:lnTo>
                      <a:pt x="131" y="243"/>
                    </a:lnTo>
                    <a:lnTo>
                      <a:pt x="132" y="220"/>
                    </a:lnTo>
                    <a:lnTo>
                      <a:pt x="140" y="207"/>
                    </a:lnTo>
                    <a:lnTo>
                      <a:pt x="148" y="205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19" name="Freeform 12"/>
              <p:cNvSpPr>
                <a:spLocks/>
              </p:cNvSpPr>
              <p:nvPr/>
            </p:nvSpPr>
            <p:spPr bwMode="gray">
              <a:xfrm>
                <a:off x="7538847" y="6116638"/>
                <a:ext cx="161925" cy="95250"/>
              </a:xfrm>
              <a:custGeom>
                <a:avLst/>
                <a:gdLst>
                  <a:gd name="T0" fmla="*/ 2147483647 w 34"/>
                  <a:gd name="T1" fmla="*/ 2147483647 h 36"/>
                  <a:gd name="T2" fmla="*/ 2147483647 w 34"/>
                  <a:gd name="T3" fmla="*/ 2147483647 h 36"/>
                  <a:gd name="T4" fmla="*/ 0 w 34"/>
                  <a:gd name="T5" fmla="*/ 2147483647 h 36"/>
                  <a:gd name="T6" fmla="*/ 2147483647 w 34"/>
                  <a:gd name="T7" fmla="*/ 2147483647 h 36"/>
                  <a:gd name="T8" fmla="*/ 2147483647 w 34"/>
                  <a:gd name="T9" fmla="*/ 2147483647 h 36"/>
                  <a:gd name="T10" fmla="*/ 2147483647 w 34"/>
                  <a:gd name="T11" fmla="*/ 2147483647 h 36"/>
                  <a:gd name="T12" fmla="*/ 2147483647 w 34"/>
                  <a:gd name="T13" fmla="*/ 0 h 36"/>
                  <a:gd name="T14" fmla="*/ 2147483647 w 34"/>
                  <a:gd name="T15" fmla="*/ 2147483647 h 36"/>
                  <a:gd name="T16" fmla="*/ 2147483647 w 34"/>
                  <a:gd name="T17" fmla="*/ 2147483647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"/>
                  <a:gd name="T28" fmla="*/ 0 h 36"/>
                  <a:gd name="T29" fmla="*/ 34 w 34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" h="36">
                    <a:moveTo>
                      <a:pt x="8" y="3"/>
                    </a:moveTo>
                    <a:lnTo>
                      <a:pt x="6" y="15"/>
                    </a:lnTo>
                    <a:lnTo>
                      <a:pt x="0" y="25"/>
                    </a:lnTo>
                    <a:lnTo>
                      <a:pt x="4" y="36"/>
                    </a:lnTo>
                    <a:lnTo>
                      <a:pt x="16" y="26"/>
                    </a:lnTo>
                    <a:lnTo>
                      <a:pt x="18" y="17"/>
                    </a:lnTo>
                    <a:lnTo>
                      <a:pt x="34" y="0"/>
                    </a:lnTo>
                    <a:lnTo>
                      <a:pt x="21" y="7"/>
                    </a:lnTo>
                    <a:lnTo>
                      <a:pt x="8" y="3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0" name="Freeform 13"/>
              <p:cNvSpPr>
                <a:spLocks/>
              </p:cNvSpPr>
              <p:nvPr/>
            </p:nvSpPr>
            <p:spPr bwMode="gray">
              <a:xfrm>
                <a:off x="6892282" y="5295900"/>
                <a:ext cx="468312" cy="292100"/>
              </a:xfrm>
              <a:custGeom>
                <a:avLst/>
                <a:gdLst>
                  <a:gd name="T0" fmla="*/ 2147483647 w 96"/>
                  <a:gd name="T1" fmla="*/ 0 h 111"/>
                  <a:gd name="T2" fmla="*/ 2147483647 w 96"/>
                  <a:gd name="T3" fmla="*/ 2147483647 h 111"/>
                  <a:gd name="T4" fmla="*/ 2147483647 w 96"/>
                  <a:gd name="T5" fmla="*/ 2147483647 h 111"/>
                  <a:gd name="T6" fmla="*/ 2147483647 w 96"/>
                  <a:gd name="T7" fmla="*/ 2147483647 h 111"/>
                  <a:gd name="T8" fmla="*/ 2147483647 w 96"/>
                  <a:gd name="T9" fmla="*/ 2147483647 h 111"/>
                  <a:gd name="T10" fmla="*/ 2147483647 w 96"/>
                  <a:gd name="T11" fmla="*/ 2147483647 h 111"/>
                  <a:gd name="T12" fmla="*/ 2147483647 w 96"/>
                  <a:gd name="T13" fmla="*/ 2147483647 h 111"/>
                  <a:gd name="T14" fmla="*/ 2147483647 w 96"/>
                  <a:gd name="T15" fmla="*/ 2147483647 h 111"/>
                  <a:gd name="T16" fmla="*/ 2147483647 w 96"/>
                  <a:gd name="T17" fmla="*/ 2147483647 h 111"/>
                  <a:gd name="T18" fmla="*/ 2147483647 w 96"/>
                  <a:gd name="T19" fmla="*/ 2147483647 h 111"/>
                  <a:gd name="T20" fmla="*/ 2147483647 w 96"/>
                  <a:gd name="T21" fmla="*/ 2147483647 h 111"/>
                  <a:gd name="T22" fmla="*/ 2147483647 w 96"/>
                  <a:gd name="T23" fmla="*/ 2147483647 h 111"/>
                  <a:gd name="T24" fmla="*/ 2147483647 w 96"/>
                  <a:gd name="T25" fmla="*/ 2147483647 h 111"/>
                  <a:gd name="T26" fmla="*/ 2147483647 w 96"/>
                  <a:gd name="T27" fmla="*/ 2147483647 h 111"/>
                  <a:gd name="T28" fmla="*/ 2147483647 w 96"/>
                  <a:gd name="T29" fmla="*/ 2147483647 h 111"/>
                  <a:gd name="T30" fmla="*/ 2147483647 w 96"/>
                  <a:gd name="T31" fmla="*/ 2147483647 h 111"/>
                  <a:gd name="T32" fmla="*/ 2147483647 w 96"/>
                  <a:gd name="T33" fmla="*/ 2147483647 h 111"/>
                  <a:gd name="T34" fmla="*/ 2147483647 w 96"/>
                  <a:gd name="T35" fmla="*/ 2147483647 h 111"/>
                  <a:gd name="T36" fmla="*/ 2147483647 w 96"/>
                  <a:gd name="T37" fmla="*/ 2147483647 h 111"/>
                  <a:gd name="T38" fmla="*/ 2147483647 w 96"/>
                  <a:gd name="T39" fmla="*/ 2147483647 h 111"/>
                  <a:gd name="T40" fmla="*/ 2147483647 w 96"/>
                  <a:gd name="T41" fmla="*/ 2147483647 h 111"/>
                  <a:gd name="T42" fmla="*/ 2147483647 w 96"/>
                  <a:gd name="T43" fmla="*/ 2147483647 h 111"/>
                  <a:gd name="T44" fmla="*/ 2147483647 w 96"/>
                  <a:gd name="T45" fmla="*/ 2147483647 h 111"/>
                  <a:gd name="T46" fmla="*/ 2147483647 w 96"/>
                  <a:gd name="T47" fmla="*/ 2147483647 h 111"/>
                  <a:gd name="T48" fmla="*/ 2147483647 w 96"/>
                  <a:gd name="T49" fmla="*/ 2147483647 h 111"/>
                  <a:gd name="T50" fmla="*/ 2147483647 w 96"/>
                  <a:gd name="T51" fmla="*/ 2147483647 h 111"/>
                  <a:gd name="T52" fmla="*/ 2147483647 w 96"/>
                  <a:gd name="T53" fmla="*/ 2147483647 h 111"/>
                  <a:gd name="T54" fmla="*/ 2147483647 w 96"/>
                  <a:gd name="T55" fmla="*/ 2147483647 h 111"/>
                  <a:gd name="T56" fmla="*/ 2147483647 w 96"/>
                  <a:gd name="T57" fmla="*/ 2147483647 h 111"/>
                  <a:gd name="T58" fmla="*/ 0 w 96"/>
                  <a:gd name="T59" fmla="*/ 2147483647 h 111"/>
                  <a:gd name="T60" fmla="*/ 2147483647 w 96"/>
                  <a:gd name="T61" fmla="*/ 2147483647 h 111"/>
                  <a:gd name="T62" fmla="*/ 2147483647 w 96"/>
                  <a:gd name="T63" fmla="*/ 0 h 11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96"/>
                  <a:gd name="T97" fmla="*/ 0 h 111"/>
                  <a:gd name="T98" fmla="*/ 96 w 96"/>
                  <a:gd name="T99" fmla="*/ 111 h 11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96" h="111">
                    <a:moveTo>
                      <a:pt x="6" y="0"/>
                    </a:moveTo>
                    <a:lnTo>
                      <a:pt x="12" y="19"/>
                    </a:lnTo>
                    <a:lnTo>
                      <a:pt x="22" y="12"/>
                    </a:lnTo>
                    <a:lnTo>
                      <a:pt x="51" y="23"/>
                    </a:lnTo>
                    <a:lnTo>
                      <a:pt x="62" y="4"/>
                    </a:lnTo>
                    <a:lnTo>
                      <a:pt x="81" y="4"/>
                    </a:lnTo>
                    <a:lnTo>
                      <a:pt x="85" y="15"/>
                    </a:lnTo>
                    <a:lnTo>
                      <a:pt x="96" y="15"/>
                    </a:lnTo>
                    <a:lnTo>
                      <a:pt x="93" y="46"/>
                    </a:lnTo>
                    <a:lnTo>
                      <a:pt x="89" y="44"/>
                    </a:lnTo>
                    <a:lnTo>
                      <a:pt x="88" y="37"/>
                    </a:lnTo>
                    <a:lnTo>
                      <a:pt x="86" y="37"/>
                    </a:lnTo>
                    <a:lnTo>
                      <a:pt x="80" y="48"/>
                    </a:lnTo>
                    <a:lnTo>
                      <a:pt x="80" y="71"/>
                    </a:lnTo>
                    <a:lnTo>
                      <a:pt x="81" y="81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60" y="111"/>
                    </a:lnTo>
                    <a:lnTo>
                      <a:pt x="42" y="109"/>
                    </a:lnTo>
                    <a:lnTo>
                      <a:pt x="36" y="107"/>
                    </a:lnTo>
                    <a:lnTo>
                      <a:pt x="30" y="111"/>
                    </a:lnTo>
                    <a:lnTo>
                      <a:pt x="11" y="109"/>
                    </a:lnTo>
                    <a:lnTo>
                      <a:pt x="5" y="98"/>
                    </a:lnTo>
                    <a:lnTo>
                      <a:pt x="6" y="90"/>
                    </a:lnTo>
                    <a:lnTo>
                      <a:pt x="6" y="75"/>
                    </a:lnTo>
                    <a:lnTo>
                      <a:pt x="3" y="54"/>
                    </a:lnTo>
                    <a:lnTo>
                      <a:pt x="11" y="52"/>
                    </a:lnTo>
                    <a:lnTo>
                      <a:pt x="11" y="44"/>
                    </a:lnTo>
                    <a:lnTo>
                      <a:pt x="5" y="35"/>
                    </a:lnTo>
                    <a:lnTo>
                      <a:pt x="0" y="31"/>
                    </a:lnTo>
                    <a:lnTo>
                      <a:pt x="3" y="2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1" name="Freeform 15"/>
              <p:cNvSpPr>
                <a:spLocks/>
              </p:cNvSpPr>
              <p:nvPr/>
            </p:nvSpPr>
            <p:spPr bwMode="gray">
              <a:xfrm>
                <a:off x="6846244" y="1536700"/>
                <a:ext cx="104775" cy="69850"/>
              </a:xfrm>
              <a:custGeom>
                <a:avLst/>
                <a:gdLst>
                  <a:gd name="T0" fmla="*/ 2147483647 w 22"/>
                  <a:gd name="T1" fmla="*/ 2147483647 h 27"/>
                  <a:gd name="T2" fmla="*/ 0 w 22"/>
                  <a:gd name="T3" fmla="*/ 2147483647 h 27"/>
                  <a:gd name="T4" fmla="*/ 0 w 22"/>
                  <a:gd name="T5" fmla="*/ 2147483647 h 27"/>
                  <a:gd name="T6" fmla="*/ 2147483647 w 22"/>
                  <a:gd name="T7" fmla="*/ 0 h 27"/>
                  <a:gd name="T8" fmla="*/ 2147483647 w 22"/>
                  <a:gd name="T9" fmla="*/ 2147483647 h 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"/>
                  <a:gd name="T16" fmla="*/ 0 h 27"/>
                  <a:gd name="T17" fmla="*/ 22 w 22"/>
                  <a:gd name="T18" fmla="*/ 27 h 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" h="27">
                    <a:moveTo>
                      <a:pt x="16" y="27"/>
                    </a:moveTo>
                    <a:lnTo>
                      <a:pt x="0" y="25"/>
                    </a:lnTo>
                    <a:lnTo>
                      <a:pt x="0" y="7"/>
                    </a:lnTo>
                    <a:lnTo>
                      <a:pt x="22" y="0"/>
                    </a:lnTo>
                    <a:lnTo>
                      <a:pt x="16" y="27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2" name="Freeform 16"/>
              <p:cNvSpPr>
                <a:spLocks/>
              </p:cNvSpPr>
              <p:nvPr/>
            </p:nvSpPr>
            <p:spPr bwMode="gray">
              <a:xfrm>
                <a:off x="6484294" y="1808163"/>
                <a:ext cx="95250" cy="136525"/>
              </a:xfrm>
              <a:custGeom>
                <a:avLst/>
                <a:gdLst>
                  <a:gd name="T0" fmla="*/ 2147483647 w 21"/>
                  <a:gd name="T1" fmla="*/ 2147483647 h 52"/>
                  <a:gd name="T2" fmla="*/ 2147483647 w 21"/>
                  <a:gd name="T3" fmla="*/ 2147483647 h 52"/>
                  <a:gd name="T4" fmla="*/ 0 w 21"/>
                  <a:gd name="T5" fmla="*/ 2147483647 h 52"/>
                  <a:gd name="T6" fmla="*/ 2147483647 w 21"/>
                  <a:gd name="T7" fmla="*/ 2147483647 h 52"/>
                  <a:gd name="T8" fmla="*/ 2147483647 w 21"/>
                  <a:gd name="T9" fmla="*/ 2147483647 h 52"/>
                  <a:gd name="T10" fmla="*/ 2147483647 w 21"/>
                  <a:gd name="T11" fmla="*/ 2147483647 h 52"/>
                  <a:gd name="T12" fmla="*/ 2147483647 w 21"/>
                  <a:gd name="T13" fmla="*/ 0 h 52"/>
                  <a:gd name="T14" fmla="*/ 2147483647 w 21"/>
                  <a:gd name="T15" fmla="*/ 2147483647 h 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52"/>
                  <a:gd name="T26" fmla="*/ 21 w 21"/>
                  <a:gd name="T27" fmla="*/ 52 h 5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52">
                    <a:moveTo>
                      <a:pt x="21" y="16"/>
                    </a:moveTo>
                    <a:lnTo>
                      <a:pt x="10" y="52"/>
                    </a:lnTo>
                    <a:lnTo>
                      <a:pt x="0" y="50"/>
                    </a:lnTo>
                    <a:lnTo>
                      <a:pt x="3" y="39"/>
                    </a:lnTo>
                    <a:lnTo>
                      <a:pt x="2" y="23"/>
                    </a:lnTo>
                    <a:lnTo>
                      <a:pt x="10" y="18"/>
                    </a:lnTo>
                    <a:lnTo>
                      <a:pt x="14" y="0"/>
                    </a:lnTo>
                    <a:lnTo>
                      <a:pt x="21" y="16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3" name="Freeform 17"/>
              <p:cNvSpPr>
                <a:spLocks/>
              </p:cNvSpPr>
              <p:nvPr/>
            </p:nvSpPr>
            <p:spPr bwMode="gray">
              <a:xfrm>
                <a:off x="6358882" y="1944688"/>
                <a:ext cx="95250" cy="107950"/>
              </a:xfrm>
              <a:custGeom>
                <a:avLst/>
                <a:gdLst>
                  <a:gd name="T0" fmla="*/ 2147483647 w 19"/>
                  <a:gd name="T1" fmla="*/ 2147483647 h 40"/>
                  <a:gd name="T2" fmla="*/ 2147483647 w 19"/>
                  <a:gd name="T3" fmla="*/ 2147483647 h 40"/>
                  <a:gd name="T4" fmla="*/ 2147483647 w 19"/>
                  <a:gd name="T5" fmla="*/ 2147483647 h 40"/>
                  <a:gd name="T6" fmla="*/ 2147483647 w 19"/>
                  <a:gd name="T7" fmla="*/ 2147483647 h 40"/>
                  <a:gd name="T8" fmla="*/ 0 w 19"/>
                  <a:gd name="T9" fmla="*/ 2147483647 h 40"/>
                  <a:gd name="T10" fmla="*/ 2147483647 w 19"/>
                  <a:gd name="T11" fmla="*/ 2147483647 h 40"/>
                  <a:gd name="T12" fmla="*/ 2147483647 w 19"/>
                  <a:gd name="T13" fmla="*/ 2147483647 h 40"/>
                  <a:gd name="T14" fmla="*/ 2147483647 w 19"/>
                  <a:gd name="T15" fmla="*/ 0 h 40"/>
                  <a:gd name="T16" fmla="*/ 2147483647 w 19"/>
                  <a:gd name="T17" fmla="*/ 2147483647 h 4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40"/>
                  <a:gd name="T29" fmla="*/ 19 w 19"/>
                  <a:gd name="T30" fmla="*/ 40 h 4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40">
                    <a:moveTo>
                      <a:pt x="14" y="13"/>
                    </a:moveTo>
                    <a:lnTo>
                      <a:pt x="19" y="12"/>
                    </a:lnTo>
                    <a:lnTo>
                      <a:pt x="17" y="21"/>
                    </a:lnTo>
                    <a:lnTo>
                      <a:pt x="8" y="40"/>
                    </a:lnTo>
                    <a:lnTo>
                      <a:pt x="0" y="29"/>
                    </a:lnTo>
                    <a:lnTo>
                      <a:pt x="8" y="13"/>
                    </a:lnTo>
                    <a:lnTo>
                      <a:pt x="8" y="10"/>
                    </a:lnTo>
                    <a:lnTo>
                      <a:pt x="13" y="0"/>
                    </a:lnTo>
                    <a:lnTo>
                      <a:pt x="14" y="13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4" name="Freeform 18"/>
              <p:cNvSpPr>
                <a:spLocks/>
              </p:cNvSpPr>
              <p:nvPr/>
            </p:nvSpPr>
            <p:spPr bwMode="gray">
              <a:xfrm>
                <a:off x="5692132" y="1498600"/>
                <a:ext cx="1784350" cy="2222500"/>
              </a:xfrm>
              <a:custGeom>
                <a:avLst/>
                <a:gdLst>
                  <a:gd name="T0" fmla="*/ 2147483647 w 371"/>
                  <a:gd name="T1" fmla="*/ 2147483647 h 828"/>
                  <a:gd name="T2" fmla="*/ 2147483647 w 371"/>
                  <a:gd name="T3" fmla="*/ 2147483647 h 828"/>
                  <a:gd name="T4" fmla="*/ 2147483647 w 371"/>
                  <a:gd name="T5" fmla="*/ 2147483647 h 828"/>
                  <a:gd name="T6" fmla="*/ 2147483647 w 371"/>
                  <a:gd name="T7" fmla="*/ 2147483647 h 828"/>
                  <a:gd name="T8" fmla="*/ 2147483647 w 371"/>
                  <a:gd name="T9" fmla="*/ 2147483647 h 828"/>
                  <a:gd name="T10" fmla="*/ 2147483647 w 371"/>
                  <a:gd name="T11" fmla="*/ 0 h 828"/>
                  <a:gd name="T12" fmla="*/ 2147483647 w 371"/>
                  <a:gd name="T13" fmla="*/ 2147483647 h 828"/>
                  <a:gd name="T14" fmla="*/ 2147483647 w 371"/>
                  <a:gd name="T15" fmla="*/ 2147483647 h 828"/>
                  <a:gd name="T16" fmla="*/ 2147483647 w 371"/>
                  <a:gd name="T17" fmla="*/ 2147483647 h 828"/>
                  <a:gd name="T18" fmla="*/ 2147483647 w 371"/>
                  <a:gd name="T19" fmla="*/ 2147483647 h 828"/>
                  <a:gd name="T20" fmla="*/ 2147483647 w 371"/>
                  <a:gd name="T21" fmla="*/ 2147483647 h 828"/>
                  <a:gd name="T22" fmla="*/ 2147483647 w 371"/>
                  <a:gd name="T23" fmla="*/ 2147483647 h 828"/>
                  <a:gd name="T24" fmla="*/ 2147483647 w 371"/>
                  <a:gd name="T25" fmla="*/ 2147483647 h 828"/>
                  <a:gd name="T26" fmla="*/ 2147483647 w 371"/>
                  <a:gd name="T27" fmla="*/ 2147483647 h 828"/>
                  <a:gd name="T28" fmla="*/ 2147483647 w 371"/>
                  <a:gd name="T29" fmla="*/ 2147483647 h 828"/>
                  <a:gd name="T30" fmla="*/ 2147483647 w 371"/>
                  <a:gd name="T31" fmla="*/ 2147483647 h 828"/>
                  <a:gd name="T32" fmla="*/ 2147483647 w 371"/>
                  <a:gd name="T33" fmla="*/ 2147483647 h 828"/>
                  <a:gd name="T34" fmla="*/ 2147483647 w 371"/>
                  <a:gd name="T35" fmla="*/ 2147483647 h 828"/>
                  <a:gd name="T36" fmla="*/ 2147483647 w 371"/>
                  <a:gd name="T37" fmla="*/ 2147483647 h 828"/>
                  <a:gd name="T38" fmla="*/ 2147483647 w 371"/>
                  <a:gd name="T39" fmla="*/ 2147483647 h 828"/>
                  <a:gd name="T40" fmla="*/ 2147483647 w 371"/>
                  <a:gd name="T41" fmla="*/ 2147483647 h 828"/>
                  <a:gd name="T42" fmla="*/ 2147483647 w 371"/>
                  <a:gd name="T43" fmla="*/ 2147483647 h 828"/>
                  <a:gd name="T44" fmla="*/ 2147483647 w 371"/>
                  <a:gd name="T45" fmla="*/ 2147483647 h 828"/>
                  <a:gd name="T46" fmla="*/ 2147483647 w 371"/>
                  <a:gd name="T47" fmla="*/ 2147483647 h 828"/>
                  <a:gd name="T48" fmla="*/ 2147483647 w 371"/>
                  <a:gd name="T49" fmla="*/ 2147483647 h 828"/>
                  <a:gd name="T50" fmla="*/ 2147483647 w 371"/>
                  <a:gd name="T51" fmla="*/ 2147483647 h 828"/>
                  <a:gd name="T52" fmla="*/ 2147483647 w 371"/>
                  <a:gd name="T53" fmla="*/ 2147483647 h 828"/>
                  <a:gd name="T54" fmla="*/ 2147483647 w 371"/>
                  <a:gd name="T55" fmla="*/ 2147483647 h 828"/>
                  <a:gd name="T56" fmla="*/ 2147483647 w 371"/>
                  <a:gd name="T57" fmla="*/ 2147483647 h 828"/>
                  <a:gd name="T58" fmla="*/ 2147483647 w 371"/>
                  <a:gd name="T59" fmla="*/ 2147483647 h 828"/>
                  <a:gd name="T60" fmla="*/ 2147483647 w 371"/>
                  <a:gd name="T61" fmla="*/ 2147483647 h 828"/>
                  <a:gd name="T62" fmla="*/ 0 w 371"/>
                  <a:gd name="T63" fmla="*/ 2147483647 h 828"/>
                  <a:gd name="T64" fmla="*/ 2147483647 w 371"/>
                  <a:gd name="T65" fmla="*/ 2147483647 h 828"/>
                  <a:gd name="T66" fmla="*/ 2147483647 w 371"/>
                  <a:gd name="T67" fmla="*/ 2147483647 h 828"/>
                  <a:gd name="T68" fmla="*/ 2147483647 w 371"/>
                  <a:gd name="T69" fmla="*/ 2147483647 h 828"/>
                  <a:gd name="T70" fmla="*/ 2147483647 w 371"/>
                  <a:gd name="T71" fmla="*/ 2147483647 h 828"/>
                  <a:gd name="T72" fmla="*/ 2147483647 w 371"/>
                  <a:gd name="T73" fmla="*/ 2147483647 h 828"/>
                  <a:gd name="T74" fmla="*/ 2147483647 w 371"/>
                  <a:gd name="T75" fmla="*/ 2147483647 h 828"/>
                  <a:gd name="T76" fmla="*/ 2147483647 w 371"/>
                  <a:gd name="T77" fmla="*/ 2147483647 h 828"/>
                  <a:gd name="T78" fmla="*/ 2147483647 w 371"/>
                  <a:gd name="T79" fmla="*/ 2147483647 h 828"/>
                  <a:gd name="T80" fmla="*/ 2147483647 w 371"/>
                  <a:gd name="T81" fmla="*/ 2147483647 h 828"/>
                  <a:gd name="T82" fmla="*/ 2147483647 w 371"/>
                  <a:gd name="T83" fmla="*/ 2147483647 h 828"/>
                  <a:gd name="T84" fmla="*/ 2147483647 w 371"/>
                  <a:gd name="T85" fmla="*/ 2147483647 h 828"/>
                  <a:gd name="T86" fmla="*/ 2147483647 w 371"/>
                  <a:gd name="T87" fmla="*/ 2147483647 h 828"/>
                  <a:gd name="T88" fmla="*/ 2147483647 w 371"/>
                  <a:gd name="T89" fmla="*/ 2147483647 h 828"/>
                  <a:gd name="T90" fmla="*/ 2147483647 w 371"/>
                  <a:gd name="T91" fmla="*/ 2147483647 h 828"/>
                  <a:gd name="T92" fmla="*/ 2147483647 w 371"/>
                  <a:gd name="T93" fmla="*/ 2147483647 h 828"/>
                  <a:gd name="T94" fmla="*/ 2147483647 w 371"/>
                  <a:gd name="T95" fmla="*/ 2147483647 h 828"/>
                  <a:gd name="T96" fmla="*/ 2147483647 w 371"/>
                  <a:gd name="T97" fmla="*/ 2147483647 h 828"/>
                  <a:gd name="T98" fmla="*/ 2147483647 w 371"/>
                  <a:gd name="T99" fmla="*/ 2147483647 h 828"/>
                  <a:gd name="T100" fmla="*/ 2147483647 w 371"/>
                  <a:gd name="T101" fmla="*/ 2147483647 h 828"/>
                  <a:gd name="T102" fmla="*/ 2147483647 w 371"/>
                  <a:gd name="T103" fmla="*/ 2147483647 h 82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71"/>
                  <a:gd name="T157" fmla="*/ 0 h 828"/>
                  <a:gd name="T158" fmla="*/ 371 w 371"/>
                  <a:gd name="T159" fmla="*/ 828 h 828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71" h="828">
                    <a:moveTo>
                      <a:pt x="370" y="113"/>
                    </a:moveTo>
                    <a:lnTo>
                      <a:pt x="363" y="92"/>
                    </a:lnTo>
                    <a:lnTo>
                      <a:pt x="353" y="102"/>
                    </a:lnTo>
                    <a:lnTo>
                      <a:pt x="348" y="94"/>
                    </a:lnTo>
                    <a:lnTo>
                      <a:pt x="347" y="87"/>
                    </a:lnTo>
                    <a:lnTo>
                      <a:pt x="351" y="87"/>
                    </a:lnTo>
                    <a:lnTo>
                      <a:pt x="338" y="79"/>
                    </a:lnTo>
                    <a:lnTo>
                      <a:pt x="337" y="71"/>
                    </a:lnTo>
                    <a:lnTo>
                      <a:pt x="353" y="75"/>
                    </a:lnTo>
                    <a:lnTo>
                      <a:pt x="360" y="58"/>
                    </a:lnTo>
                    <a:lnTo>
                      <a:pt x="366" y="58"/>
                    </a:lnTo>
                    <a:lnTo>
                      <a:pt x="371" y="39"/>
                    </a:lnTo>
                    <a:lnTo>
                      <a:pt x="358" y="39"/>
                    </a:lnTo>
                    <a:lnTo>
                      <a:pt x="358" y="23"/>
                    </a:lnTo>
                    <a:lnTo>
                      <a:pt x="346" y="21"/>
                    </a:lnTo>
                    <a:lnTo>
                      <a:pt x="341" y="10"/>
                    </a:lnTo>
                    <a:lnTo>
                      <a:pt x="333" y="27"/>
                    </a:lnTo>
                    <a:lnTo>
                      <a:pt x="333" y="50"/>
                    </a:lnTo>
                    <a:lnTo>
                      <a:pt x="321" y="50"/>
                    </a:lnTo>
                    <a:lnTo>
                      <a:pt x="327" y="37"/>
                    </a:lnTo>
                    <a:lnTo>
                      <a:pt x="325" y="21"/>
                    </a:lnTo>
                    <a:lnTo>
                      <a:pt x="328" y="16"/>
                    </a:lnTo>
                    <a:lnTo>
                      <a:pt x="328" y="0"/>
                    </a:lnTo>
                    <a:lnTo>
                      <a:pt x="321" y="0"/>
                    </a:lnTo>
                    <a:lnTo>
                      <a:pt x="314" y="27"/>
                    </a:lnTo>
                    <a:lnTo>
                      <a:pt x="313" y="62"/>
                    </a:lnTo>
                    <a:lnTo>
                      <a:pt x="305" y="58"/>
                    </a:lnTo>
                    <a:lnTo>
                      <a:pt x="305" y="44"/>
                    </a:lnTo>
                    <a:lnTo>
                      <a:pt x="308" y="20"/>
                    </a:lnTo>
                    <a:lnTo>
                      <a:pt x="301" y="21"/>
                    </a:lnTo>
                    <a:lnTo>
                      <a:pt x="290" y="50"/>
                    </a:lnTo>
                    <a:lnTo>
                      <a:pt x="290" y="71"/>
                    </a:lnTo>
                    <a:lnTo>
                      <a:pt x="278" y="73"/>
                    </a:lnTo>
                    <a:lnTo>
                      <a:pt x="284" y="54"/>
                    </a:lnTo>
                    <a:lnTo>
                      <a:pt x="283" y="31"/>
                    </a:lnTo>
                    <a:lnTo>
                      <a:pt x="295" y="25"/>
                    </a:lnTo>
                    <a:lnTo>
                      <a:pt x="295" y="16"/>
                    </a:lnTo>
                    <a:lnTo>
                      <a:pt x="277" y="4"/>
                    </a:lnTo>
                    <a:lnTo>
                      <a:pt x="268" y="12"/>
                    </a:lnTo>
                    <a:lnTo>
                      <a:pt x="277" y="31"/>
                    </a:lnTo>
                    <a:lnTo>
                      <a:pt x="264" y="48"/>
                    </a:lnTo>
                    <a:lnTo>
                      <a:pt x="265" y="31"/>
                    </a:lnTo>
                    <a:lnTo>
                      <a:pt x="257" y="33"/>
                    </a:lnTo>
                    <a:lnTo>
                      <a:pt x="260" y="60"/>
                    </a:lnTo>
                    <a:lnTo>
                      <a:pt x="253" y="67"/>
                    </a:lnTo>
                    <a:lnTo>
                      <a:pt x="254" y="77"/>
                    </a:lnTo>
                    <a:lnTo>
                      <a:pt x="248" y="79"/>
                    </a:lnTo>
                    <a:lnTo>
                      <a:pt x="248" y="69"/>
                    </a:lnTo>
                    <a:lnTo>
                      <a:pt x="231" y="50"/>
                    </a:lnTo>
                    <a:lnTo>
                      <a:pt x="224" y="58"/>
                    </a:lnTo>
                    <a:lnTo>
                      <a:pt x="239" y="69"/>
                    </a:lnTo>
                    <a:lnTo>
                      <a:pt x="238" y="90"/>
                    </a:lnTo>
                    <a:lnTo>
                      <a:pt x="228" y="79"/>
                    </a:lnTo>
                    <a:lnTo>
                      <a:pt x="228" y="92"/>
                    </a:lnTo>
                    <a:lnTo>
                      <a:pt x="219" y="90"/>
                    </a:lnTo>
                    <a:lnTo>
                      <a:pt x="220" y="113"/>
                    </a:lnTo>
                    <a:lnTo>
                      <a:pt x="209" y="113"/>
                    </a:lnTo>
                    <a:lnTo>
                      <a:pt x="213" y="98"/>
                    </a:lnTo>
                    <a:lnTo>
                      <a:pt x="211" y="90"/>
                    </a:lnTo>
                    <a:lnTo>
                      <a:pt x="197" y="115"/>
                    </a:lnTo>
                    <a:lnTo>
                      <a:pt x="200" y="148"/>
                    </a:lnTo>
                    <a:lnTo>
                      <a:pt x="192" y="136"/>
                    </a:lnTo>
                    <a:lnTo>
                      <a:pt x="180" y="140"/>
                    </a:lnTo>
                    <a:lnTo>
                      <a:pt x="181" y="154"/>
                    </a:lnTo>
                    <a:lnTo>
                      <a:pt x="173" y="171"/>
                    </a:lnTo>
                    <a:lnTo>
                      <a:pt x="177" y="182"/>
                    </a:lnTo>
                    <a:lnTo>
                      <a:pt x="157" y="199"/>
                    </a:lnTo>
                    <a:lnTo>
                      <a:pt x="157" y="224"/>
                    </a:lnTo>
                    <a:lnTo>
                      <a:pt x="150" y="221"/>
                    </a:lnTo>
                    <a:lnTo>
                      <a:pt x="140" y="230"/>
                    </a:lnTo>
                    <a:lnTo>
                      <a:pt x="141" y="259"/>
                    </a:lnTo>
                    <a:lnTo>
                      <a:pt x="152" y="270"/>
                    </a:lnTo>
                    <a:lnTo>
                      <a:pt x="137" y="267"/>
                    </a:lnTo>
                    <a:lnTo>
                      <a:pt x="133" y="303"/>
                    </a:lnTo>
                    <a:lnTo>
                      <a:pt x="121" y="297"/>
                    </a:lnTo>
                    <a:lnTo>
                      <a:pt x="117" y="301"/>
                    </a:lnTo>
                    <a:lnTo>
                      <a:pt x="116" y="320"/>
                    </a:lnTo>
                    <a:lnTo>
                      <a:pt x="125" y="328"/>
                    </a:lnTo>
                    <a:lnTo>
                      <a:pt x="115" y="330"/>
                    </a:lnTo>
                    <a:lnTo>
                      <a:pt x="112" y="347"/>
                    </a:lnTo>
                    <a:lnTo>
                      <a:pt x="123" y="347"/>
                    </a:lnTo>
                    <a:lnTo>
                      <a:pt x="124" y="353"/>
                    </a:lnTo>
                    <a:lnTo>
                      <a:pt x="107" y="351"/>
                    </a:lnTo>
                    <a:lnTo>
                      <a:pt x="108" y="381"/>
                    </a:lnTo>
                    <a:lnTo>
                      <a:pt x="104" y="397"/>
                    </a:lnTo>
                    <a:lnTo>
                      <a:pt x="100" y="391"/>
                    </a:lnTo>
                    <a:lnTo>
                      <a:pt x="93" y="416"/>
                    </a:lnTo>
                    <a:lnTo>
                      <a:pt x="101" y="429"/>
                    </a:lnTo>
                    <a:lnTo>
                      <a:pt x="86" y="441"/>
                    </a:lnTo>
                    <a:lnTo>
                      <a:pt x="86" y="460"/>
                    </a:lnTo>
                    <a:lnTo>
                      <a:pt x="76" y="460"/>
                    </a:lnTo>
                    <a:lnTo>
                      <a:pt x="76" y="483"/>
                    </a:lnTo>
                    <a:lnTo>
                      <a:pt x="66" y="508"/>
                    </a:lnTo>
                    <a:lnTo>
                      <a:pt x="71" y="527"/>
                    </a:lnTo>
                    <a:lnTo>
                      <a:pt x="77" y="500"/>
                    </a:lnTo>
                    <a:lnTo>
                      <a:pt x="91" y="489"/>
                    </a:lnTo>
                    <a:lnTo>
                      <a:pt x="89" y="517"/>
                    </a:lnTo>
                    <a:lnTo>
                      <a:pt x="75" y="540"/>
                    </a:lnTo>
                    <a:lnTo>
                      <a:pt x="67" y="538"/>
                    </a:lnTo>
                    <a:lnTo>
                      <a:pt x="63" y="531"/>
                    </a:lnTo>
                    <a:lnTo>
                      <a:pt x="44" y="554"/>
                    </a:lnTo>
                    <a:lnTo>
                      <a:pt x="48" y="569"/>
                    </a:lnTo>
                    <a:lnTo>
                      <a:pt x="40" y="558"/>
                    </a:lnTo>
                    <a:lnTo>
                      <a:pt x="32" y="575"/>
                    </a:lnTo>
                    <a:lnTo>
                      <a:pt x="25" y="563"/>
                    </a:lnTo>
                    <a:lnTo>
                      <a:pt x="15" y="584"/>
                    </a:lnTo>
                    <a:lnTo>
                      <a:pt x="26" y="594"/>
                    </a:lnTo>
                    <a:lnTo>
                      <a:pt x="27" y="602"/>
                    </a:lnTo>
                    <a:lnTo>
                      <a:pt x="15" y="607"/>
                    </a:lnTo>
                    <a:lnTo>
                      <a:pt x="1" y="605"/>
                    </a:lnTo>
                    <a:lnTo>
                      <a:pt x="1" y="617"/>
                    </a:lnTo>
                    <a:lnTo>
                      <a:pt x="19" y="619"/>
                    </a:lnTo>
                    <a:lnTo>
                      <a:pt x="19" y="625"/>
                    </a:lnTo>
                    <a:lnTo>
                      <a:pt x="2" y="626"/>
                    </a:lnTo>
                    <a:lnTo>
                      <a:pt x="3" y="655"/>
                    </a:lnTo>
                    <a:lnTo>
                      <a:pt x="22" y="651"/>
                    </a:lnTo>
                    <a:lnTo>
                      <a:pt x="29" y="661"/>
                    </a:lnTo>
                    <a:lnTo>
                      <a:pt x="33" y="651"/>
                    </a:lnTo>
                    <a:lnTo>
                      <a:pt x="33" y="671"/>
                    </a:lnTo>
                    <a:lnTo>
                      <a:pt x="16" y="659"/>
                    </a:lnTo>
                    <a:lnTo>
                      <a:pt x="1" y="667"/>
                    </a:lnTo>
                    <a:lnTo>
                      <a:pt x="1" y="701"/>
                    </a:lnTo>
                    <a:lnTo>
                      <a:pt x="7" y="699"/>
                    </a:lnTo>
                    <a:lnTo>
                      <a:pt x="7" y="716"/>
                    </a:lnTo>
                    <a:lnTo>
                      <a:pt x="23" y="690"/>
                    </a:lnTo>
                    <a:lnTo>
                      <a:pt x="23" y="707"/>
                    </a:lnTo>
                    <a:lnTo>
                      <a:pt x="19" y="709"/>
                    </a:lnTo>
                    <a:lnTo>
                      <a:pt x="0" y="738"/>
                    </a:lnTo>
                    <a:lnTo>
                      <a:pt x="0" y="755"/>
                    </a:lnTo>
                    <a:lnTo>
                      <a:pt x="10" y="757"/>
                    </a:lnTo>
                    <a:lnTo>
                      <a:pt x="11" y="745"/>
                    </a:lnTo>
                    <a:lnTo>
                      <a:pt x="16" y="747"/>
                    </a:lnTo>
                    <a:lnTo>
                      <a:pt x="16" y="759"/>
                    </a:lnTo>
                    <a:lnTo>
                      <a:pt x="13" y="762"/>
                    </a:lnTo>
                    <a:lnTo>
                      <a:pt x="19" y="782"/>
                    </a:lnTo>
                    <a:lnTo>
                      <a:pt x="8" y="776"/>
                    </a:lnTo>
                    <a:lnTo>
                      <a:pt x="3" y="783"/>
                    </a:lnTo>
                    <a:lnTo>
                      <a:pt x="22" y="826"/>
                    </a:lnTo>
                    <a:lnTo>
                      <a:pt x="42" y="828"/>
                    </a:lnTo>
                    <a:lnTo>
                      <a:pt x="48" y="810"/>
                    </a:lnTo>
                    <a:lnTo>
                      <a:pt x="61" y="805"/>
                    </a:lnTo>
                    <a:lnTo>
                      <a:pt x="60" y="776"/>
                    </a:lnTo>
                    <a:lnTo>
                      <a:pt x="69" y="783"/>
                    </a:lnTo>
                    <a:lnTo>
                      <a:pt x="77" y="768"/>
                    </a:lnTo>
                    <a:lnTo>
                      <a:pt x="73" y="760"/>
                    </a:lnTo>
                    <a:lnTo>
                      <a:pt x="73" y="749"/>
                    </a:lnTo>
                    <a:lnTo>
                      <a:pt x="78" y="749"/>
                    </a:lnTo>
                    <a:lnTo>
                      <a:pt x="78" y="766"/>
                    </a:lnTo>
                    <a:lnTo>
                      <a:pt x="90" y="778"/>
                    </a:lnTo>
                    <a:lnTo>
                      <a:pt x="97" y="776"/>
                    </a:lnTo>
                    <a:lnTo>
                      <a:pt x="103" y="745"/>
                    </a:lnTo>
                    <a:lnTo>
                      <a:pt x="102" y="726"/>
                    </a:lnTo>
                    <a:lnTo>
                      <a:pt x="110" y="701"/>
                    </a:lnTo>
                    <a:lnTo>
                      <a:pt x="104" y="676"/>
                    </a:lnTo>
                    <a:lnTo>
                      <a:pt x="111" y="653"/>
                    </a:lnTo>
                    <a:lnTo>
                      <a:pt x="109" y="646"/>
                    </a:lnTo>
                    <a:lnTo>
                      <a:pt x="102" y="581"/>
                    </a:lnTo>
                    <a:lnTo>
                      <a:pt x="104" y="565"/>
                    </a:lnTo>
                    <a:lnTo>
                      <a:pt x="105" y="552"/>
                    </a:lnTo>
                    <a:lnTo>
                      <a:pt x="103" y="527"/>
                    </a:lnTo>
                    <a:lnTo>
                      <a:pt x="115" y="496"/>
                    </a:lnTo>
                    <a:lnTo>
                      <a:pt x="129" y="496"/>
                    </a:lnTo>
                    <a:lnTo>
                      <a:pt x="129" y="483"/>
                    </a:lnTo>
                    <a:lnTo>
                      <a:pt x="125" y="468"/>
                    </a:lnTo>
                    <a:lnTo>
                      <a:pt x="124" y="458"/>
                    </a:lnTo>
                    <a:lnTo>
                      <a:pt x="129" y="450"/>
                    </a:lnTo>
                    <a:lnTo>
                      <a:pt x="135" y="425"/>
                    </a:lnTo>
                    <a:lnTo>
                      <a:pt x="135" y="393"/>
                    </a:lnTo>
                    <a:lnTo>
                      <a:pt x="135" y="372"/>
                    </a:lnTo>
                    <a:lnTo>
                      <a:pt x="131" y="368"/>
                    </a:lnTo>
                    <a:lnTo>
                      <a:pt x="136" y="353"/>
                    </a:lnTo>
                    <a:lnTo>
                      <a:pt x="147" y="347"/>
                    </a:lnTo>
                    <a:lnTo>
                      <a:pt x="147" y="328"/>
                    </a:lnTo>
                    <a:lnTo>
                      <a:pt x="151" y="320"/>
                    </a:lnTo>
                    <a:lnTo>
                      <a:pt x="158" y="316"/>
                    </a:lnTo>
                    <a:lnTo>
                      <a:pt x="159" y="288"/>
                    </a:lnTo>
                    <a:lnTo>
                      <a:pt x="157" y="276"/>
                    </a:lnTo>
                    <a:lnTo>
                      <a:pt x="162" y="245"/>
                    </a:lnTo>
                    <a:lnTo>
                      <a:pt x="171" y="228"/>
                    </a:lnTo>
                    <a:lnTo>
                      <a:pt x="179" y="234"/>
                    </a:lnTo>
                    <a:lnTo>
                      <a:pt x="184" y="228"/>
                    </a:lnTo>
                    <a:lnTo>
                      <a:pt x="184" y="198"/>
                    </a:lnTo>
                    <a:lnTo>
                      <a:pt x="200" y="205"/>
                    </a:lnTo>
                    <a:lnTo>
                      <a:pt x="203" y="213"/>
                    </a:lnTo>
                    <a:lnTo>
                      <a:pt x="213" y="215"/>
                    </a:lnTo>
                    <a:lnTo>
                      <a:pt x="213" y="196"/>
                    </a:lnTo>
                    <a:lnTo>
                      <a:pt x="216" y="192"/>
                    </a:lnTo>
                    <a:lnTo>
                      <a:pt x="213" y="165"/>
                    </a:lnTo>
                    <a:lnTo>
                      <a:pt x="220" y="155"/>
                    </a:lnTo>
                    <a:lnTo>
                      <a:pt x="225" y="146"/>
                    </a:lnTo>
                    <a:lnTo>
                      <a:pt x="235" y="146"/>
                    </a:lnTo>
                    <a:lnTo>
                      <a:pt x="240" y="165"/>
                    </a:lnTo>
                    <a:lnTo>
                      <a:pt x="257" y="188"/>
                    </a:lnTo>
                    <a:lnTo>
                      <a:pt x="266" y="178"/>
                    </a:lnTo>
                    <a:lnTo>
                      <a:pt x="283" y="184"/>
                    </a:lnTo>
                    <a:lnTo>
                      <a:pt x="288" y="169"/>
                    </a:lnTo>
                    <a:lnTo>
                      <a:pt x="297" y="167"/>
                    </a:lnTo>
                    <a:lnTo>
                      <a:pt x="297" y="104"/>
                    </a:lnTo>
                    <a:lnTo>
                      <a:pt x="300" y="92"/>
                    </a:lnTo>
                    <a:lnTo>
                      <a:pt x="317" y="92"/>
                    </a:lnTo>
                    <a:lnTo>
                      <a:pt x="319" y="81"/>
                    </a:lnTo>
                    <a:lnTo>
                      <a:pt x="329" y="88"/>
                    </a:lnTo>
                    <a:lnTo>
                      <a:pt x="344" y="115"/>
                    </a:lnTo>
                    <a:lnTo>
                      <a:pt x="339" y="127"/>
                    </a:lnTo>
                    <a:lnTo>
                      <a:pt x="339" y="146"/>
                    </a:lnTo>
                    <a:lnTo>
                      <a:pt x="348" y="146"/>
                    </a:lnTo>
                    <a:lnTo>
                      <a:pt x="349" y="131"/>
                    </a:lnTo>
                    <a:lnTo>
                      <a:pt x="357" y="131"/>
                    </a:lnTo>
                    <a:lnTo>
                      <a:pt x="359" y="117"/>
                    </a:lnTo>
                    <a:lnTo>
                      <a:pt x="370" y="113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5" name="Freeform 19"/>
              <p:cNvSpPr>
                <a:spLocks/>
              </p:cNvSpPr>
              <p:nvPr/>
            </p:nvSpPr>
            <p:spPr bwMode="gray">
              <a:xfrm>
                <a:off x="6700194" y="4108450"/>
                <a:ext cx="217488" cy="112713"/>
              </a:xfrm>
              <a:custGeom>
                <a:avLst/>
                <a:gdLst>
                  <a:gd name="T0" fmla="*/ 2147483647 w 45"/>
                  <a:gd name="T1" fmla="*/ 2147483647 h 42"/>
                  <a:gd name="T2" fmla="*/ 2147483647 w 45"/>
                  <a:gd name="T3" fmla="*/ 2147483647 h 42"/>
                  <a:gd name="T4" fmla="*/ 2147483647 w 45"/>
                  <a:gd name="T5" fmla="*/ 2147483647 h 42"/>
                  <a:gd name="T6" fmla="*/ 2147483647 w 45"/>
                  <a:gd name="T7" fmla="*/ 2147483647 h 42"/>
                  <a:gd name="T8" fmla="*/ 2147483647 w 45"/>
                  <a:gd name="T9" fmla="*/ 2147483647 h 42"/>
                  <a:gd name="T10" fmla="*/ 2147483647 w 45"/>
                  <a:gd name="T11" fmla="*/ 2147483647 h 42"/>
                  <a:gd name="T12" fmla="*/ 2147483647 w 45"/>
                  <a:gd name="T13" fmla="*/ 2147483647 h 42"/>
                  <a:gd name="T14" fmla="*/ 2147483647 w 45"/>
                  <a:gd name="T15" fmla="*/ 2147483647 h 42"/>
                  <a:gd name="T16" fmla="*/ 2147483647 w 45"/>
                  <a:gd name="T17" fmla="*/ 2147483647 h 42"/>
                  <a:gd name="T18" fmla="*/ 0 w 45"/>
                  <a:gd name="T19" fmla="*/ 2147483647 h 42"/>
                  <a:gd name="T20" fmla="*/ 2147483647 w 45"/>
                  <a:gd name="T21" fmla="*/ 2147483647 h 42"/>
                  <a:gd name="T22" fmla="*/ 2147483647 w 45"/>
                  <a:gd name="T23" fmla="*/ 0 h 42"/>
                  <a:gd name="T24" fmla="*/ 2147483647 w 45"/>
                  <a:gd name="T25" fmla="*/ 2147483647 h 42"/>
                  <a:gd name="T26" fmla="*/ 2147483647 w 45"/>
                  <a:gd name="T27" fmla="*/ 2147483647 h 42"/>
                  <a:gd name="T28" fmla="*/ 2147483647 w 45"/>
                  <a:gd name="T29" fmla="*/ 2147483647 h 42"/>
                  <a:gd name="T30" fmla="*/ 2147483647 w 45"/>
                  <a:gd name="T31" fmla="*/ 2147483647 h 4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5"/>
                  <a:gd name="T49" fmla="*/ 0 h 42"/>
                  <a:gd name="T50" fmla="*/ 45 w 45"/>
                  <a:gd name="T51" fmla="*/ 42 h 4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5" h="42">
                    <a:moveTo>
                      <a:pt x="31" y="6"/>
                    </a:moveTo>
                    <a:lnTo>
                      <a:pt x="37" y="12"/>
                    </a:lnTo>
                    <a:lnTo>
                      <a:pt x="43" y="12"/>
                    </a:lnTo>
                    <a:lnTo>
                      <a:pt x="45" y="19"/>
                    </a:lnTo>
                    <a:lnTo>
                      <a:pt x="45" y="29"/>
                    </a:lnTo>
                    <a:lnTo>
                      <a:pt x="44" y="42"/>
                    </a:lnTo>
                    <a:lnTo>
                      <a:pt x="18" y="42"/>
                    </a:lnTo>
                    <a:lnTo>
                      <a:pt x="4" y="31"/>
                    </a:lnTo>
                    <a:lnTo>
                      <a:pt x="7" y="18"/>
                    </a:lnTo>
                    <a:lnTo>
                      <a:pt x="0" y="18"/>
                    </a:lnTo>
                    <a:lnTo>
                      <a:pt x="1" y="10"/>
                    </a:lnTo>
                    <a:lnTo>
                      <a:pt x="7" y="0"/>
                    </a:lnTo>
                    <a:lnTo>
                      <a:pt x="17" y="2"/>
                    </a:lnTo>
                    <a:lnTo>
                      <a:pt x="17" y="10"/>
                    </a:lnTo>
                    <a:lnTo>
                      <a:pt x="22" y="2"/>
                    </a:lnTo>
                    <a:lnTo>
                      <a:pt x="31" y="6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6" name="Freeform 20"/>
              <p:cNvSpPr>
                <a:spLocks/>
              </p:cNvSpPr>
              <p:nvPr/>
            </p:nvSpPr>
            <p:spPr bwMode="gray">
              <a:xfrm>
                <a:off x="6743057" y="1716088"/>
                <a:ext cx="800100" cy="1754187"/>
              </a:xfrm>
              <a:custGeom>
                <a:avLst/>
                <a:gdLst>
                  <a:gd name="T0" fmla="*/ 2147483647 w 165"/>
                  <a:gd name="T1" fmla="*/ 2147483647 h 653"/>
                  <a:gd name="T2" fmla="*/ 2147483647 w 165"/>
                  <a:gd name="T3" fmla="*/ 2147483647 h 653"/>
                  <a:gd name="T4" fmla="*/ 2147483647 w 165"/>
                  <a:gd name="T5" fmla="*/ 2147483647 h 653"/>
                  <a:gd name="T6" fmla="*/ 2147483647 w 165"/>
                  <a:gd name="T7" fmla="*/ 2147483647 h 653"/>
                  <a:gd name="T8" fmla="*/ 2147483647 w 165"/>
                  <a:gd name="T9" fmla="*/ 2147483647 h 653"/>
                  <a:gd name="T10" fmla="*/ 2147483647 w 165"/>
                  <a:gd name="T11" fmla="*/ 2147483647 h 653"/>
                  <a:gd name="T12" fmla="*/ 2147483647 w 165"/>
                  <a:gd name="T13" fmla="*/ 2147483647 h 653"/>
                  <a:gd name="T14" fmla="*/ 2147483647 w 165"/>
                  <a:gd name="T15" fmla="*/ 2147483647 h 653"/>
                  <a:gd name="T16" fmla="*/ 2147483647 w 165"/>
                  <a:gd name="T17" fmla="*/ 2147483647 h 653"/>
                  <a:gd name="T18" fmla="*/ 2147483647 w 165"/>
                  <a:gd name="T19" fmla="*/ 2147483647 h 653"/>
                  <a:gd name="T20" fmla="*/ 2147483647 w 165"/>
                  <a:gd name="T21" fmla="*/ 2147483647 h 653"/>
                  <a:gd name="T22" fmla="*/ 2147483647 w 165"/>
                  <a:gd name="T23" fmla="*/ 2147483647 h 653"/>
                  <a:gd name="T24" fmla="*/ 2147483647 w 165"/>
                  <a:gd name="T25" fmla="*/ 0 h 653"/>
                  <a:gd name="T26" fmla="*/ 2147483647 w 165"/>
                  <a:gd name="T27" fmla="*/ 2147483647 h 653"/>
                  <a:gd name="T28" fmla="*/ 2147483647 w 165"/>
                  <a:gd name="T29" fmla="*/ 2147483647 h 653"/>
                  <a:gd name="T30" fmla="*/ 2147483647 w 165"/>
                  <a:gd name="T31" fmla="*/ 2147483647 h 653"/>
                  <a:gd name="T32" fmla="*/ 2147483647 w 165"/>
                  <a:gd name="T33" fmla="*/ 2147483647 h 653"/>
                  <a:gd name="T34" fmla="*/ 2147483647 w 165"/>
                  <a:gd name="T35" fmla="*/ 2147483647 h 653"/>
                  <a:gd name="T36" fmla="*/ 0 w 165"/>
                  <a:gd name="T37" fmla="*/ 2147483647 h 653"/>
                  <a:gd name="T38" fmla="*/ 2147483647 w 165"/>
                  <a:gd name="T39" fmla="*/ 2147483647 h 653"/>
                  <a:gd name="T40" fmla="*/ 2147483647 w 165"/>
                  <a:gd name="T41" fmla="*/ 2147483647 h 653"/>
                  <a:gd name="T42" fmla="*/ 2147483647 w 165"/>
                  <a:gd name="T43" fmla="*/ 2147483647 h 653"/>
                  <a:gd name="T44" fmla="*/ 2147483647 w 165"/>
                  <a:gd name="T45" fmla="*/ 2147483647 h 653"/>
                  <a:gd name="T46" fmla="*/ 2147483647 w 165"/>
                  <a:gd name="T47" fmla="*/ 2147483647 h 653"/>
                  <a:gd name="T48" fmla="*/ 2147483647 w 165"/>
                  <a:gd name="T49" fmla="*/ 2147483647 h 653"/>
                  <a:gd name="T50" fmla="*/ 2147483647 w 165"/>
                  <a:gd name="T51" fmla="*/ 2147483647 h 653"/>
                  <a:gd name="T52" fmla="*/ 2147483647 w 165"/>
                  <a:gd name="T53" fmla="*/ 2147483647 h 653"/>
                  <a:gd name="T54" fmla="*/ 2147483647 w 165"/>
                  <a:gd name="T55" fmla="*/ 2147483647 h 653"/>
                  <a:gd name="T56" fmla="*/ 2147483647 w 165"/>
                  <a:gd name="T57" fmla="*/ 2147483647 h 653"/>
                  <a:gd name="T58" fmla="*/ 2147483647 w 165"/>
                  <a:gd name="T59" fmla="*/ 2147483647 h 653"/>
                  <a:gd name="T60" fmla="*/ 2147483647 w 165"/>
                  <a:gd name="T61" fmla="*/ 2147483647 h 653"/>
                  <a:gd name="T62" fmla="*/ 2147483647 w 165"/>
                  <a:gd name="T63" fmla="*/ 2147483647 h 653"/>
                  <a:gd name="T64" fmla="*/ 2147483647 w 165"/>
                  <a:gd name="T65" fmla="*/ 2147483647 h 653"/>
                  <a:gd name="T66" fmla="*/ 2147483647 w 165"/>
                  <a:gd name="T67" fmla="*/ 2147483647 h 653"/>
                  <a:gd name="T68" fmla="*/ 2147483647 w 165"/>
                  <a:gd name="T69" fmla="*/ 2147483647 h 65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65"/>
                  <a:gd name="T106" fmla="*/ 0 h 653"/>
                  <a:gd name="T107" fmla="*/ 165 w 165"/>
                  <a:gd name="T108" fmla="*/ 653 h 65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65" h="653">
                    <a:moveTo>
                      <a:pt x="114" y="607"/>
                    </a:moveTo>
                    <a:lnTo>
                      <a:pt x="146" y="545"/>
                    </a:lnTo>
                    <a:lnTo>
                      <a:pt x="165" y="511"/>
                    </a:lnTo>
                    <a:lnTo>
                      <a:pt x="140" y="446"/>
                    </a:lnTo>
                    <a:lnTo>
                      <a:pt x="148" y="425"/>
                    </a:lnTo>
                    <a:lnTo>
                      <a:pt x="143" y="392"/>
                    </a:lnTo>
                    <a:lnTo>
                      <a:pt x="141" y="365"/>
                    </a:lnTo>
                    <a:lnTo>
                      <a:pt x="132" y="364"/>
                    </a:lnTo>
                    <a:lnTo>
                      <a:pt x="132" y="327"/>
                    </a:lnTo>
                    <a:lnTo>
                      <a:pt x="141" y="321"/>
                    </a:lnTo>
                    <a:lnTo>
                      <a:pt x="136" y="285"/>
                    </a:lnTo>
                    <a:lnTo>
                      <a:pt x="124" y="254"/>
                    </a:lnTo>
                    <a:lnTo>
                      <a:pt x="127" y="216"/>
                    </a:lnTo>
                    <a:lnTo>
                      <a:pt x="130" y="216"/>
                    </a:lnTo>
                    <a:lnTo>
                      <a:pt x="131" y="197"/>
                    </a:lnTo>
                    <a:lnTo>
                      <a:pt x="135" y="199"/>
                    </a:lnTo>
                    <a:lnTo>
                      <a:pt x="135" y="178"/>
                    </a:lnTo>
                    <a:lnTo>
                      <a:pt x="127" y="155"/>
                    </a:lnTo>
                    <a:lnTo>
                      <a:pt x="118" y="128"/>
                    </a:lnTo>
                    <a:lnTo>
                      <a:pt x="116" y="109"/>
                    </a:lnTo>
                    <a:lnTo>
                      <a:pt x="123" y="94"/>
                    </a:lnTo>
                    <a:lnTo>
                      <a:pt x="120" y="65"/>
                    </a:lnTo>
                    <a:lnTo>
                      <a:pt x="120" y="46"/>
                    </a:lnTo>
                    <a:lnTo>
                      <a:pt x="125" y="34"/>
                    </a:lnTo>
                    <a:lnTo>
                      <a:pt x="111" y="7"/>
                    </a:lnTo>
                    <a:lnTo>
                      <a:pt x="100" y="0"/>
                    </a:lnTo>
                    <a:lnTo>
                      <a:pt x="98" y="11"/>
                    </a:lnTo>
                    <a:lnTo>
                      <a:pt x="81" y="11"/>
                    </a:lnTo>
                    <a:lnTo>
                      <a:pt x="79" y="23"/>
                    </a:lnTo>
                    <a:lnTo>
                      <a:pt x="78" y="84"/>
                    </a:lnTo>
                    <a:lnTo>
                      <a:pt x="69" y="86"/>
                    </a:lnTo>
                    <a:lnTo>
                      <a:pt x="63" y="103"/>
                    </a:lnTo>
                    <a:lnTo>
                      <a:pt x="47" y="96"/>
                    </a:lnTo>
                    <a:lnTo>
                      <a:pt x="37" y="105"/>
                    </a:lnTo>
                    <a:lnTo>
                      <a:pt x="20" y="84"/>
                    </a:lnTo>
                    <a:lnTo>
                      <a:pt x="16" y="63"/>
                    </a:lnTo>
                    <a:lnTo>
                      <a:pt x="6" y="63"/>
                    </a:lnTo>
                    <a:lnTo>
                      <a:pt x="0" y="76"/>
                    </a:lnTo>
                    <a:lnTo>
                      <a:pt x="21" y="120"/>
                    </a:lnTo>
                    <a:lnTo>
                      <a:pt x="34" y="128"/>
                    </a:lnTo>
                    <a:lnTo>
                      <a:pt x="48" y="161"/>
                    </a:lnTo>
                    <a:lnTo>
                      <a:pt x="41" y="176"/>
                    </a:lnTo>
                    <a:lnTo>
                      <a:pt x="46" y="193"/>
                    </a:lnTo>
                    <a:lnTo>
                      <a:pt x="47" y="205"/>
                    </a:lnTo>
                    <a:lnTo>
                      <a:pt x="45" y="224"/>
                    </a:lnTo>
                    <a:lnTo>
                      <a:pt x="48" y="239"/>
                    </a:lnTo>
                    <a:lnTo>
                      <a:pt x="48" y="264"/>
                    </a:lnTo>
                    <a:lnTo>
                      <a:pt x="45" y="281"/>
                    </a:lnTo>
                    <a:lnTo>
                      <a:pt x="49" y="291"/>
                    </a:lnTo>
                    <a:lnTo>
                      <a:pt x="52" y="310"/>
                    </a:lnTo>
                    <a:lnTo>
                      <a:pt x="67" y="318"/>
                    </a:lnTo>
                    <a:lnTo>
                      <a:pt x="72" y="346"/>
                    </a:lnTo>
                    <a:lnTo>
                      <a:pt x="70" y="362"/>
                    </a:lnTo>
                    <a:lnTo>
                      <a:pt x="75" y="377"/>
                    </a:lnTo>
                    <a:lnTo>
                      <a:pt x="62" y="375"/>
                    </a:lnTo>
                    <a:lnTo>
                      <a:pt x="20" y="480"/>
                    </a:lnTo>
                    <a:lnTo>
                      <a:pt x="13" y="482"/>
                    </a:lnTo>
                    <a:lnTo>
                      <a:pt x="8" y="501"/>
                    </a:lnTo>
                    <a:lnTo>
                      <a:pt x="9" y="536"/>
                    </a:lnTo>
                    <a:lnTo>
                      <a:pt x="15" y="580"/>
                    </a:lnTo>
                    <a:lnTo>
                      <a:pt x="12" y="609"/>
                    </a:lnTo>
                    <a:lnTo>
                      <a:pt x="20" y="628"/>
                    </a:lnTo>
                    <a:lnTo>
                      <a:pt x="28" y="649"/>
                    </a:lnTo>
                    <a:lnTo>
                      <a:pt x="35" y="637"/>
                    </a:lnTo>
                    <a:lnTo>
                      <a:pt x="43" y="653"/>
                    </a:lnTo>
                    <a:lnTo>
                      <a:pt x="66" y="637"/>
                    </a:lnTo>
                    <a:lnTo>
                      <a:pt x="66" y="630"/>
                    </a:lnTo>
                    <a:lnTo>
                      <a:pt x="85" y="630"/>
                    </a:lnTo>
                    <a:lnTo>
                      <a:pt x="104" y="618"/>
                    </a:lnTo>
                    <a:lnTo>
                      <a:pt x="114" y="607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7" name="Freeform 21"/>
              <p:cNvSpPr>
                <a:spLocks/>
              </p:cNvSpPr>
              <p:nvPr/>
            </p:nvSpPr>
            <p:spPr bwMode="gray">
              <a:xfrm>
                <a:off x="6771632" y="3757613"/>
                <a:ext cx="438150" cy="271462"/>
              </a:xfrm>
              <a:custGeom>
                <a:avLst/>
                <a:gdLst>
                  <a:gd name="T0" fmla="*/ 2147483647 w 91"/>
                  <a:gd name="T1" fmla="*/ 2147483647 h 104"/>
                  <a:gd name="T2" fmla="*/ 2147483647 w 91"/>
                  <a:gd name="T3" fmla="*/ 0 h 104"/>
                  <a:gd name="T4" fmla="*/ 2147483647 w 91"/>
                  <a:gd name="T5" fmla="*/ 2147483647 h 104"/>
                  <a:gd name="T6" fmla="*/ 2147483647 w 91"/>
                  <a:gd name="T7" fmla="*/ 2147483647 h 104"/>
                  <a:gd name="T8" fmla="*/ 2147483647 w 91"/>
                  <a:gd name="T9" fmla="*/ 2147483647 h 104"/>
                  <a:gd name="T10" fmla="*/ 2147483647 w 91"/>
                  <a:gd name="T11" fmla="*/ 2147483647 h 104"/>
                  <a:gd name="T12" fmla="*/ 2147483647 w 91"/>
                  <a:gd name="T13" fmla="*/ 2147483647 h 104"/>
                  <a:gd name="T14" fmla="*/ 2147483647 w 91"/>
                  <a:gd name="T15" fmla="*/ 2147483647 h 104"/>
                  <a:gd name="T16" fmla="*/ 2147483647 w 91"/>
                  <a:gd name="T17" fmla="*/ 2147483647 h 104"/>
                  <a:gd name="T18" fmla="*/ 2147483647 w 91"/>
                  <a:gd name="T19" fmla="*/ 2147483647 h 104"/>
                  <a:gd name="T20" fmla="*/ 2147483647 w 91"/>
                  <a:gd name="T21" fmla="*/ 2147483647 h 104"/>
                  <a:gd name="T22" fmla="*/ 2147483647 w 91"/>
                  <a:gd name="T23" fmla="*/ 2147483647 h 104"/>
                  <a:gd name="T24" fmla="*/ 2147483647 w 91"/>
                  <a:gd name="T25" fmla="*/ 2147483647 h 104"/>
                  <a:gd name="T26" fmla="*/ 2147483647 w 91"/>
                  <a:gd name="T27" fmla="*/ 2147483647 h 104"/>
                  <a:gd name="T28" fmla="*/ 2147483647 w 91"/>
                  <a:gd name="T29" fmla="*/ 2147483647 h 104"/>
                  <a:gd name="T30" fmla="*/ 0 w 91"/>
                  <a:gd name="T31" fmla="*/ 2147483647 h 104"/>
                  <a:gd name="T32" fmla="*/ 2147483647 w 91"/>
                  <a:gd name="T33" fmla="*/ 2147483647 h 104"/>
                  <a:gd name="T34" fmla="*/ 2147483647 w 91"/>
                  <a:gd name="T35" fmla="*/ 2147483647 h 104"/>
                  <a:gd name="T36" fmla="*/ 2147483647 w 91"/>
                  <a:gd name="T37" fmla="*/ 2147483647 h 104"/>
                  <a:gd name="T38" fmla="*/ 2147483647 w 91"/>
                  <a:gd name="T39" fmla="*/ 2147483647 h 104"/>
                  <a:gd name="T40" fmla="*/ 2147483647 w 91"/>
                  <a:gd name="T41" fmla="*/ 2147483647 h 104"/>
                  <a:gd name="T42" fmla="*/ 2147483647 w 91"/>
                  <a:gd name="T43" fmla="*/ 2147483647 h 104"/>
                  <a:gd name="T44" fmla="*/ 2147483647 w 91"/>
                  <a:gd name="T45" fmla="*/ 2147483647 h 104"/>
                  <a:gd name="T46" fmla="*/ 2147483647 w 91"/>
                  <a:gd name="T47" fmla="*/ 2147483647 h 104"/>
                  <a:gd name="T48" fmla="*/ 2147483647 w 91"/>
                  <a:gd name="T49" fmla="*/ 2147483647 h 10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91"/>
                  <a:gd name="T76" fmla="*/ 0 h 104"/>
                  <a:gd name="T77" fmla="*/ 91 w 91"/>
                  <a:gd name="T78" fmla="*/ 104 h 10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91" h="104">
                    <a:moveTo>
                      <a:pt x="49" y="4"/>
                    </a:moveTo>
                    <a:lnTo>
                      <a:pt x="59" y="0"/>
                    </a:lnTo>
                    <a:lnTo>
                      <a:pt x="71" y="17"/>
                    </a:lnTo>
                    <a:lnTo>
                      <a:pt x="81" y="23"/>
                    </a:lnTo>
                    <a:lnTo>
                      <a:pt x="85" y="54"/>
                    </a:lnTo>
                    <a:lnTo>
                      <a:pt x="91" y="77"/>
                    </a:lnTo>
                    <a:lnTo>
                      <a:pt x="80" y="92"/>
                    </a:lnTo>
                    <a:lnTo>
                      <a:pt x="77" y="104"/>
                    </a:lnTo>
                    <a:lnTo>
                      <a:pt x="71" y="96"/>
                    </a:lnTo>
                    <a:lnTo>
                      <a:pt x="69" y="86"/>
                    </a:lnTo>
                    <a:lnTo>
                      <a:pt x="59" y="83"/>
                    </a:lnTo>
                    <a:lnTo>
                      <a:pt x="53" y="77"/>
                    </a:lnTo>
                    <a:lnTo>
                      <a:pt x="44" y="83"/>
                    </a:lnTo>
                    <a:lnTo>
                      <a:pt x="33" y="86"/>
                    </a:lnTo>
                    <a:lnTo>
                      <a:pt x="18" y="83"/>
                    </a:lnTo>
                    <a:lnTo>
                      <a:pt x="0" y="94"/>
                    </a:lnTo>
                    <a:lnTo>
                      <a:pt x="2" y="50"/>
                    </a:lnTo>
                    <a:lnTo>
                      <a:pt x="14" y="16"/>
                    </a:lnTo>
                    <a:lnTo>
                      <a:pt x="24" y="16"/>
                    </a:lnTo>
                    <a:lnTo>
                      <a:pt x="29" y="14"/>
                    </a:lnTo>
                    <a:lnTo>
                      <a:pt x="31" y="27"/>
                    </a:lnTo>
                    <a:lnTo>
                      <a:pt x="38" y="33"/>
                    </a:lnTo>
                    <a:lnTo>
                      <a:pt x="40" y="54"/>
                    </a:lnTo>
                    <a:lnTo>
                      <a:pt x="49" y="40"/>
                    </a:lnTo>
                    <a:lnTo>
                      <a:pt x="49" y="4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8" name="Freeform 22"/>
              <p:cNvSpPr>
                <a:spLocks/>
              </p:cNvSpPr>
              <p:nvPr/>
            </p:nvSpPr>
            <p:spPr bwMode="gray">
              <a:xfrm>
                <a:off x="6112819" y="1928813"/>
                <a:ext cx="876300" cy="2171700"/>
              </a:xfrm>
              <a:custGeom>
                <a:avLst/>
                <a:gdLst>
                  <a:gd name="T0" fmla="*/ 2147483647 w 182"/>
                  <a:gd name="T1" fmla="*/ 2147483647 h 808"/>
                  <a:gd name="T2" fmla="*/ 2147483647 w 182"/>
                  <a:gd name="T3" fmla="*/ 2147483647 h 808"/>
                  <a:gd name="T4" fmla="*/ 2147483647 w 182"/>
                  <a:gd name="T5" fmla="*/ 2147483647 h 808"/>
                  <a:gd name="T6" fmla="*/ 2147483647 w 182"/>
                  <a:gd name="T7" fmla="*/ 2147483647 h 808"/>
                  <a:gd name="T8" fmla="*/ 2147483647 w 182"/>
                  <a:gd name="T9" fmla="*/ 2147483647 h 808"/>
                  <a:gd name="T10" fmla="*/ 2147483647 w 182"/>
                  <a:gd name="T11" fmla="*/ 2147483647 h 808"/>
                  <a:gd name="T12" fmla="*/ 2147483647 w 182"/>
                  <a:gd name="T13" fmla="*/ 2147483647 h 808"/>
                  <a:gd name="T14" fmla="*/ 2147483647 w 182"/>
                  <a:gd name="T15" fmla="*/ 2147483647 h 808"/>
                  <a:gd name="T16" fmla="*/ 2147483647 w 182"/>
                  <a:gd name="T17" fmla="*/ 2147483647 h 808"/>
                  <a:gd name="T18" fmla="*/ 2147483647 w 182"/>
                  <a:gd name="T19" fmla="*/ 2147483647 h 808"/>
                  <a:gd name="T20" fmla="*/ 2147483647 w 182"/>
                  <a:gd name="T21" fmla="*/ 2147483647 h 808"/>
                  <a:gd name="T22" fmla="*/ 2147483647 w 182"/>
                  <a:gd name="T23" fmla="*/ 2147483647 h 808"/>
                  <a:gd name="T24" fmla="*/ 2147483647 w 182"/>
                  <a:gd name="T25" fmla="*/ 2147483647 h 808"/>
                  <a:gd name="T26" fmla="*/ 2147483647 w 182"/>
                  <a:gd name="T27" fmla="*/ 2147483647 h 808"/>
                  <a:gd name="T28" fmla="*/ 2147483647 w 182"/>
                  <a:gd name="T29" fmla="*/ 2147483647 h 808"/>
                  <a:gd name="T30" fmla="*/ 2147483647 w 182"/>
                  <a:gd name="T31" fmla="*/ 2147483647 h 808"/>
                  <a:gd name="T32" fmla="*/ 2147483647 w 182"/>
                  <a:gd name="T33" fmla="*/ 2147483647 h 808"/>
                  <a:gd name="T34" fmla="*/ 2147483647 w 182"/>
                  <a:gd name="T35" fmla="*/ 2147483647 h 808"/>
                  <a:gd name="T36" fmla="*/ 2147483647 w 182"/>
                  <a:gd name="T37" fmla="*/ 2147483647 h 808"/>
                  <a:gd name="T38" fmla="*/ 2147483647 w 182"/>
                  <a:gd name="T39" fmla="*/ 2147483647 h 808"/>
                  <a:gd name="T40" fmla="*/ 2147483647 w 182"/>
                  <a:gd name="T41" fmla="*/ 2147483647 h 808"/>
                  <a:gd name="T42" fmla="*/ 2147483647 w 182"/>
                  <a:gd name="T43" fmla="*/ 2147483647 h 808"/>
                  <a:gd name="T44" fmla="*/ 2147483647 w 182"/>
                  <a:gd name="T45" fmla="*/ 2147483647 h 808"/>
                  <a:gd name="T46" fmla="*/ 2147483647 w 182"/>
                  <a:gd name="T47" fmla="*/ 2147483647 h 808"/>
                  <a:gd name="T48" fmla="*/ 2147483647 w 182"/>
                  <a:gd name="T49" fmla="*/ 2147483647 h 808"/>
                  <a:gd name="T50" fmla="*/ 2147483647 w 182"/>
                  <a:gd name="T51" fmla="*/ 2147483647 h 808"/>
                  <a:gd name="T52" fmla="*/ 2147483647 w 182"/>
                  <a:gd name="T53" fmla="*/ 2147483647 h 808"/>
                  <a:gd name="T54" fmla="*/ 2147483647 w 182"/>
                  <a:gd name="T55" fmla="*/ 2147483647 h 808"/>
                  <a:gd name="T56" fmla="*/ 2147483647 w 182"/>
                  <a:gd name="T57" fmla="*/ 2147483647 h 808"/>
                  <a:gd name="T58" fmla="*/ 2147483647 w 182"/>
                  <a:gd name="T59" fmla="*/ 2147483647 h 808"/>
                  <a:gd name="T60" fmla="*/ 2147483647 w 182"/>
                  <a:gd name="T61" fmla="*/ 2147483647 h 808"/>
                  <a:gd name="T62" fmla="*/ 2147483647 w 182"/>
                  <a:gd name="T63" fmla="*/ 2147483647 h 808"/>
                  <a:gd name="T64" fmla="*/ 0 w 182"/>
                  <a:gd name="T65" fmla="*/ 2147483647 h 808"/>
                  <a:gd name="T66" fmla="*/ 2147483647 w 182"/>
                  <a:gd name="T67" fmla="*/ 2147483647 h 808"/>
                  <a:gd name="T68" fmla="*/ 2147483647 w 182"/>
                  <a:gd name="T69" fmla="*/ 2147483647 h 808"/>
                  <a:gd name="T70" fmla="*/ 2147483647 w 182"/>
                  <a:gd name="T71" fmla="*/ 2147483647 h 808"/>
                  <a:gd name="T72" fmla="*/ 2147483647 w 182"/>
                  <a:gd name="T73" fmla="*/ 2147483647 h 808"/>
                  <a:gd name="T74" fmla="*/ 2147483647 w 182"/>
                  <a:gd name="T75" fmla="*/ 2147483647 h 808"/>
                  <a:gd name="T76" fmla="*/ 2147483647 w 182"/>
                  <a:gd name="T77" fmla="*/ 2147483647 h 808"/>
                  <a:gd name="T78" fmla="*/ 2147483647 w 182"/>
                  <a:gd name="T79" fmla="*/ 2147483647 h 808"/>
                  <a:gd name="T80" fmla="*/ 2147483647 w 182"/>
                  <a:gd name="T81" fmla="*/ 2147483647 h 808"/>
                  <a:gd name="T82" fmla="*/ 2147483647 w 182"/>
                  <a:gd name="T83" fmla="*/ 2147483647 h 808"/>
                  <a:gd name="T84" fmla="*/ 2147483647 w 182"/>
                  <a:gd name="T85" fmla="*/ 2147483647 h 808"/>
                  <a:gd name="T86" fmla="*/ 2147483647 w 182"/>
                  <a:gd name="T87" fmla="*/ 2147483647 h 808"/>
                  <a:gd name="T88" fmla="*/ 2147483647 w 182"/>
                  <a:gd name="T89" fmla="*/ 2147483647 h 808"/>
                  <a:gd name="T90" fmla="*/ 2147483647 w 182"/>
                  <a:gd name="T91" fmla="*/ 2147483647 h 808"/>
                  <a:gd name="T92" fmla="*/ 2147483647 w 182"/>
                  <a:gd name="T93" fmla="*/ 2147483647 h 808"/>
                  <a:gd name="T94" fmla="*/ 2147483647 w 182"/>
                  <a:gd name="T95" fmla="*/ 2147483647 h 808"/>
                  <a:gd name="T96" fmla="*/ 2147483647 w 182"/>
                  <a:gd name="T97" fmla="*/ 2147483647 h 808"/>
                  <a:gd name="T98" fmla="*/ 2147483647 w 182"/>
                  <a:gd name="T99" fmla="*/ 2147483647 h 808"/>
                  <a:gd name="T100" fmla="*/ 2147483647 w 182"/>
                  <a:gd name="T101" fmla="*/ 2147483647 h 808"/>
                  <a:gd name="T102" fmla="*/ 2147483647 w 182"/>
                  <a:gd name="T103" fmla="*/ 2147483647 h 808"/>
                  <a:gd name="T104" fmla="*/ 2147483647 w 182"/>
                  <a:gd name="T105" fmla="*/ 0 h 80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2"/>
                  <a:gd name="T160" fmla="*/ 0 h 808"/>
                  <a:gd name="T161" fmla="*/ 182 w 182"/>
                  <a:gd name="T162" fmla="*/ 808 h 80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2" h="808">
                    <a:moveTo>
                      <a:pt x="130" y="0"/>
                    </a:moveTo>
                    <a:lnTo>
                      <a:pt x="152" y="46"/>
                    </a:lnTo>
                    <a:lnTo>
                      <a:pt x="165" y="52"/>
                    </a:lnTo>
                    <a:lnTo>
                      <a:pt x="179" y="86"/>
                    </a:lnTo>
                    <a:lnTo>
                      <a:pt x="172" y="102"/>
                    </a:lnTo>
                    <a:lnTo>
                      <a:pt x="177" y="119"/>
                    </a:lnTo>
                    <a:lnTo>
                      <a:pt x="177" y="130"/>
                    </a:lnTo>
                    <a:lnTo>
                      <a:pt x="175" y="148"/>
                    </a:lnTo>
                    <a:lnTo>
                      <a:pt x="179" y="163"/>
                    </a:lnTo>
                    <a:lnTo>
                      <a:pt x="179" y="188"/>
                    </a:lnTo>
                    <a:lnTo>
                      <a:pt x="175" y="207"/>
                    </a:lnTo>
                    <a:lnTo>
                      <a:pt x="179" y="215"/>
                    </a:lnTo>
                    <a:lnTo>
                      <a:pt x="182" y="234"/>
                    </a:lnTo>
                    <a:lnTo>
                      <a:pt x="164" y="238"/>
                    </a:lnTo>
                    <a:lnTo>
                      <a:pt x="160" y="228"/>
                    </a:lnTo>
                    <a:lnTo>
                      <a:pt x="154" y="238"/>
                    </a:lnTo>
                    <a:lnTo>
                      <a:pt x="151" y="238"/>
                    </a:lnTo>
                    <a:lnTo>
                      <a:pt x="149" y="253"/>
                    </a:lnTo>
                    <a:lnTo>
                      <a:pt x="154" y="266"/>
                    </a:lnTo>
                    <a:lnTo>
                      <a:pt x="144" y="266"/>
                    </a:lnTo>
                    <a:lnTo>
                      <a:pt x="145" y="276"/>
                    </a:lnTo>
                    <a:lnTo>
                      <a:pt x="139" y="291"/>
                    </a:lnTo>
                    <a:lnTo>
                      <a:pt x="147" y="322"/>
                    </a:lnTo>
                    <a:lnTo>
                      <a:pt x="143" y="343"/>
                    </a:lnTo>
                    <a:lnTo>
                      <a:pt x="116" y="397"/>
                    </a:lnTo>
                    <a:lnTo>
                      <a:pt x="107" y="397"/>
                    </a:lnTo>
                    <a:lnTo>
                      <a:pt x="104" y="416"/>
                    </a:lnTo>
                    <a:lnTo>
                      <a:pt x="95" y="420"/>
                    </a:lnTo>
                    <a:lnTo>
                      <a:pt x="95" y="437"/>
                    </a:lnTo>
                    <a:lnTo>
                      <a:pt x="86" y="435"/>
                    </a:lnTo>
                    <a:lnTo>
                      <a:pt x="87" y="481"/>
                    </a:lnTo>
                    <a:lnTo>
                      <a:pt x="83" y="489"/>
                    </a:lnTo>
                    <a:lnTo>
                      <a:pt x="87" y="531"/>
                    </a:lnTo>
                    <a:lnTo>
                      <a:pt x="104" y="554"/>
                    </a:lnTo>
                    <a:lnTo>
                      <a:pt x="108" y="584"/>
                    </a:lnTo>
                    <a:lnTo>
                      <a:pt x="101" y="590"/>
                    </a:lnTo>
                    <a:lnTo>
                      <a:pt x="81" y="586"/>
                    </a:lnTo>
                    <a:lnTo>
                      <a:pt x="71" y="596"/>
                    </a:lnTo>
                    <a:lnTo>
                      <a:pt x="84" y="609"/>
                    </a:lnTo>
                    <a:lnTo>
                      <a:pt x="89" y="598"/>
                    </a:lnTo>
                    <a:lnTo>
                      <a:pt x="107" y="598"/>
                    </a:lnTo>
                    <a:lnTo>
                      <a:pt x="107" y="603"/>
                    </a:lnTo>
                    <a:lnTo>
                      <a:pt x="97" y="630"/>
                    </a:lnTo>
                    <a:lnTo>
                      <a:pt x="88" y="630"/>
                    </a:lnTo>
                    <a:lnTo>
                      <a:pt x="88" y="642"/>
                    </a:lnTo>
                    <a:lnTo>
                      <a:pt x="78" y="646"/>
                    </a:lnTo>
                    <a:lnTo>
                      <a:pt x="83" y="659"/>
                    </a:lnTo>
                    <a:lnTo>
                      <a:pt x="72" y="751"/>
                    </a:lnTo>
                    <a:lnTo>
                      <a:pt x="66" y="772"/>
                    </a:lnTo>
                    <a:lnTo>
                      <a:pt x="47" y="774"/>
                    </a:lnTo>
                    <a:lnTo>
                      <a:pt x="43" y="785"/>
                    </a:lnTo>
                    <a:lnTo>
                      <a:pt x="47" y="793"/>
                    </a:lnTo>
                    <a:lnTo>
                      <a:pt x="47" y="803"/>
                    </a:lnTo>
                    <a:lnTo>
                      <a:pt x="42" y="808"/>
                    </a:lnTo>
                    <a:lnTo>
                      <a:pt x="31" y="808"/>
                    </a:lnTo>
                    <a:lnTo>
                      <a:pt x="27" y="787"/>
                    </a:lnTo>
                    <a:lnTo>
                      <a:pt x="21" y="772"/>
                    </a:lnTo>
                    <a:lnTo>
                      <a:pt x="25" y="751"/>
                    </a:lnTo>
                    <a:lnTo>
                      <a:pt x="25" y="734"/>
                    </a:lnTo>
                    <a:lnTo>
                      <a:pt x="17" y="732"/>
                    </a:lnTo>
                    <a:lnTo>
                      <a:pt x="19" y="718"/>
                    </a:lnTo>
                    <a:lnTo>
                      <a:pt x="11" y="713"/>
                    </a:lnTo>
                    <a:lnTo>
                      <a:pt x="6" y="688"/>
                    </a:lnTo>
                    <a:lnTo>
                      <a:pt x="12" y="667"/>
                    </a:lnTo>
                    <a:lnTo>
                      <a:pt x="3" y="659"/>
                    </a:lnTo>
                    <a:lnTo>
                      <a:pt x="0" y="621"/>
                    </a:lnTo>
                    <a:lnTo>
                      <a:pt x="7" y="621"/>
                    </a:lnTo>
                    <a:lnTo>
                      <a:pt x="13" y="588"/>
                    </a:lnTo>
                    <a:lnTo>
                      <a:pt x="12" y="571"/>
                    </a:lnTo>
                    <a:lnTo>
                      <a:pt x="21" y="546"/>
                    </a:lnTo>
                    <a:lnTo>
                      <a:pt x="14" y="519"/>
                    </a:lnTo>
                    <a:lnTo>
                      <a:pt x="22" y="496"/>
                    </a:lnTo>
                    <a:lnTo>
                      <a:pt x="19" y="489"/>
                    </a:lnTo>
                    <a:lnTo>
                      <a:pt x="12" y="425"/>
                    </a:lnTo>
                    <a:lnTo>
                      <a:pt x="14" y="408"/>
                    </a:lnTo>
                    <a:lnTo>
                      <a:pt x="15" y="395"/>
                    </a:lnTo>
                    <a:lnTo>
                      <a:pt x="13" y="370"/>
                    </a:lnTo>
                    <a:lnTo>
                      <a:pt x="25" y="339"/>
                    </a:lnTo>
                    <a:lnTo>
                      <a:pt x="39" y="339"/>
                    </a:lnTo>
                    <a:lnTo>
                      <a:pt x="40" y="326"/>
                    </a:lnTo>
                    <a:lnTo>
                      <a:pt x="35" y="310"/>
                    </a:lnTo>
                    <a:lnTo>
                      <a:pt x="35" y="301"/>
                    </a:lnTo>
                    <a:lnTo>
                      <a:pt x="40" y="291"/>
                    </a:lnTo>
                    <a:lnTo>
                      <a:pt x="45" y="268"/>
                    </a:lnTo>
                    <a:lnTo>
                      <a:pt x="46" y="238"/>
                    </a:lnTo>
                    <a:lnTo>
                      <a:pt x="45" y="215"/>
                    </a:lnTo>
                    <a:lnTo>
                      <a:pt x="41" y="211"/>
                    </a:lnTo>
                    <a:lnTo>
                      <a:pt x="47" y="196"/>
                    </a:lnTo>
                    <a:lnTo>
                      <a:pt x="58" y="190"/>
                    </a:lnTo>
                    <a:lnTo>
                      <a:pt x="58" y="171"/>
                    </a:lnTo>
                    <a:lnTo>
                      <a:pt x="62" y="165"/>
                    </a:lnTo>
                    <a:lnTo>
                      <a:pt x="68" y="159"/>
                    </a:lnTo>
                    <a:lnTo>
                      <a:pt x="70" y="130"/>
                    </a:lnTo>
                    <a:lnTo>
                      <a:pt x="67" y="119"/>
                    </a:lnTo>
                    <a:lnTo>
                      <a:pt x="72" y="90"/>
                    </a:lnTo>
                    <a:lnTo>
                      <a:pt x="81" y="73"/>
                    </a:lnTo>
                    <a:lnTo>
                      <a:pt x="89" y="77"/>
                    </a:lnTo>
                    <a:lnTo>
                      <a:pt x="95" y="69"/>
                    </a:lnTo>
                    <a:lnTo>
                      <a:pt x="95" y="42"/>
                    </a:lnTo>
                    <a:lnTo>
                      <a:pt x="110" y="48"/>
                    </a:lnTo>
                    <a:lnTo>
                      <a:pt x="114" y="56"/>
                    </a:lnTo>
                    <a:lnTo>
                      <a:pt x="124" y="58"/>
                    </a:lnTo>
                    <a:lnTo>
                      <a:pt x="124" y="39"/>
                    </a:lnTo>
                    <a:lnTo>
                      <a:pt x="127" y="37"/>
                    </a:lnTo>
                    <a:lnTo>
                      <a:pt x="123" y="8"/>
                    </a:lnTo>
                    <a:lnTo>
                      <a:pt x="130" y="0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29" name="Freeform 23"/>
              <p:cNvSpPr>
                <a:spLocks/>
              </p:cNvSpPr>
              <p:nvPr/>
            </p:nvSpPr>
            <p:spPr bwMode="gray">
              <a:xfrm>
                <a:off x="6466832" y="3824288"/>
                <a:ext cx="46037" cy="150812"/>
              </a:xfrm>
              <a:custGeom>
                <a:avLst/>
                <a:gdLst>
                  <a:gd name="T0" fmla="*/ 2147483647 w 10"/>
                  <a:gd name="T1" fmla="*/ 0 h 55"/>
                  <a:gd name="T2" fmla="*/ 0 w 10"/>
                  <a:gd name="T3" fmla="*/ 2147483647 h 55"/>
                  <a:gd name="T4" fmla="*/ 0 w 10"/>
                  <a:gd name="T5" fmla="*/ 2147483647 h 55"/>
                  <a:gd name="T6" fmla="*/ 2147483647 w 10"/>
                  <a:gd name="T7" fmla="*/ 2147483647 h 55"/>
                  <a:gd name="T8" fmla="*/ 2147483647 w 10"/>
                  <a:gd name="T9" fmla="*/ 0 h 5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55"/>
                  <a:gd name="T17" fmla="*/ 10 w 10"/>
                  <a:gd name="T18" fmla="*/ 55 h 5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55">
                    <a:moveTo>
                      <a:pt x="10" y="0"/>
                    </a:moveTo>
                    <a:lnTo>
                      <a:pt x="0" y="36"/>
                    </a:lnTo>
                    <a:lnTo>
                      <a:pt x="0" y="55"/>
                    </a:lnTo>
                    <a:lnTo>
                      <a:pt x="10" y="36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0" name="Freeform 24"/>
              <p:cNvSpPr>
                <a:spLocks/>
              </p:cNvSpPr>
              <p:nvPr/>
            </p:nvSpPr>
            <p:spPr bwMode="gray">
              <a:xfrm>
                <a:off x="6566844" y="3757613"/>
                <a:ext cx="66675" cy="142875"/>
              </a:xfrm>
              <a:custGeom>
                <a:avLst/>
                <a:gdLst>
                  <a:gd name="T0" fmla="*/ 2147483647 w 15"/>
                  <a:gd name="T1" fmla="*/ 0 h 53"/>
                  <a:gd name="T2" fmla="*/ 2147483647 w 15"/>
                  <a:gd name="T3" fmla="*/ 0 h 53"/>
                  <a:gd name="T4" fmla="*/ 0 w 15"/>
                  <a:gd name="T5" fmla="*/ 2147483647 h 53"/>
                  <a:gd name="T6" fmla="*/ 2147483647 w 15"/>
                  <a:gd name="T7" fmla="*/ 2147483647 h 53"/>
                  <a:gd name="T8" fmla="*/ 2147483647 w 15"/>
                  <a:gd name="T9" fmla="*/ 2147483647 h 53"/>
                  <a:gd name="T10" fmla="*/ 2147483647 w 15"/>
                  <a:gd name="T11" fmla="*/ 2147483647 h 53"/>
                  <a:gd name="T12" fmla="*/ 2147483647 w 15"/>
                  <a:gd name="T13" fmla="*/ 0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53"/>
                  <a:gd name="T23" fmla="*/ 15 w 15"/>
                  <a:gd name="T24" fmla="*/ 53 h 5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53">
                    <a:moveTo>
                      <a:pt x="15" y="0"/>
                    </a:moveTo>
                    <a:lnTo>
                      <a:pt x="8" y="0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53"/>
                    </a:lnTo>
                    <a:lnTo>
                      <a:pt x="15" y="36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1" name="Freeform 25"/>
              <p:cNvSpPr>
                <a:spLocks/>
              </p:cNvSpPr>
              <p:nvPr/>
            </p:nvSpPr>
            <p:spPr bwMode="gray">
              <a:xfrm>
                <a:off x="6112819" y="3990975"/>
                <a:ext cx="74613" cy="138113"/>
              </a:xfrm>
              <a:custGeom>
                <a:avLst/>
                <a:gdLst>
                  <a:gd name="T0" fmla="*/ 0 w 16"/>
                  <a:gd name="T1" fmla="*/ 2147483647 h 54"/>
                  <a:gd name="T2" fmla="*/ 2147483647 w 16"/>
                  <a:gd name="T3" fmla="*/ 2147483647 h 54"/>
                  <a:gd name="T4" fmla="*/ 2147483647 w 16"/>
                  <a:gd name="T5" fmla="*/ 2147483647 h 54"/>
                  <a:gd name="T6" fmla="*/ 2147483647 w 16"/>
                  <a:gd name="T7" fmla="*/ 2147483647 h 54"/>
                  <a:gd name="T8" fmla="*/ 2147483647 w 16"/>
                  <a:gd name="T9" fmla="*/ 2147483647 h 54"/>
                  <a:gd name="T10" fmla="*/ 2147483647 w 16"/>
                  <a:gd name="T11" fmla="*/ 2147483647 h 54"/>
                  <a:gd name="T12" fmla="*/ 2147483647 w 16"/>
                  <a:gd name="T13" fmla="*/ 2147483647 h 54"/>
                  <a:gd name="T14" fmla="*/ 2147483647 w 16"/>
                  <a:gd name="T15" fmla="*/ 2147483647 h 54"/>
                  <a:gd name="T16" fmla="*/ 2147483647 w 16"/>
                  <a:gd name="T17" fmla="*/ 2147483647 h 54"/>
                  <a:gd name="T18" fmla="*/ 2147483647 w 16"/>
                  <a:gd name="T19" fmla="*/ 2147483647 h 54"/>
                  <a:gd name="T20" fmla="*/ 2147483647 w 16"/>
                  <a:gd name="T21" fmla="*/ 2147483647 h 54"/>
                  <a:gd name="T22" fmla="*/ 2147483647 w 16"/>
                  <a:gd name="T23" fmla="*/ 0 h 54"/>
                  <a:gd name="T24" fmla="*/ 0 w 16"/>
                  <a:gd name="T25" fmla="*/ 2147483647 h 5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54"/>
                  <a:gd name="T41" fmla="*/ 16 w 16"/>
                  <a:gd name="T42" fmla="*/ 54 h 5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54">
                    <a:moveTo>
                      <a:pt x="0" y="33"/>
                    </a:moveTo>
                    <a:lnTo>
                      <a:pt x="3" y="42"/>
                    </a:lnTo>
                    <a:lnTo>
                      <a:pt x="6" y="46"/>
                    </a:lnTo>
                    <a:lnTo>
                      <a:pt x="9" y="46"/>
                    </a:lnTo>
                    <a:lnTo>
                      <a:pt x="12" y="54"/>
                    </a:lnTo>
                    <a:lnTo>
                      <a:pt x="14" y="54"/>
                    </a:lnTo>
                    <a:lnTo>
                      <a:pt x="16" y="44"/>
                    </a:lnTo>
                    <a:lnTo>
                      <a:pt x="14" y="27"/>
                    </a:lnTo>
                    <a:lnTo>
                      <a:pt x="15" y="23"/>
                    </a:lnTo>
                    <a:lnTo>
                      <a:pt x="16" y="10"/>
                    </a:lnTo>
                    <a:lnTo>
                      <a:pt x="14" y="2"/>
                    </a:lnTo>
                    <a:lnTo>
                      <a:pt x="1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2" name="Freeform 26"/>
              <p:cNvSpPr>
                <a:spLocks/>
              </p:cNvSpPr>
              <p:nvPr/>
            </p:nvSpPr>
            <p:spPr bwMode="gray">
              <a:xfrm>
                <a:off x="6017569" y="4021138"/>
                <a:ext cx="87313" cy="49212"/>
              </a:xfrm>
              <a:custGeom>
                <a:avLst/>
                <a:gdLst>
                  <a:gd name="T0" fmla="*/ 2147483647 w 17"/>
                  <a:gd name="T1" fmla="*/ 2147483647 h 18"/>
                  <a:gd name="T2" fmla="*/ 2147483647 w 17"/>
                  <a:gd name="T3" fmla="*/ 2147483647 h 18"/>
                  <a:gd name="T4" fmla="*/ 0 w 17"/>
                  <a:gd name="T5" fmla="*/ 2147483647 h 18"/>
                  <a:gd name="T6" fmla="*/ 2147483647 w 17"/>
                  <a:gd name="T7" fmla="*/ 2147483647 h 18"/>
                  <a:gd name="T8" fmla="*/ 2147483647 w 17"/>
                  <a:gd name="T9" fmla="*/ 0 h 18"/>
                  <a:gd name="T10" fmla="*/ 2147483647 w 17"/>
                  <a:gd name="T11" fmla="*/ 2147483647 h 18"/>
                  <a:gd name="T12" fmla="*/ 2147483647 w 17"/>
                  <a:gd name="T13" fmla="*/ 2147483647 h 18"/>
                  <a:gd name="T14" fmla="*/ 2147483647 w 17"/>
                  <a:gd name="T15" fmla="*/ 2147483647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8"/>
                  <a:gd name="T26" fmla="*/ 17 w 17"/>
                  <a:gd name="T27" fmla="*/ 18 h 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8">
                    <a:moveTo>
                      <a:pt x="17" y="16"/>
                    </a:moveTo>
                    <a:lnTo>
                      <a:pt x="6" y="18"/>
                    </a:lnTo>
                    <a:lnTo>
                      <a:pt x="0" y="14"/>
                    </a:lnTo>
                    <a:lnTo>
                      <a:pt x="1" y="6"/>
                    </a:lnTo>
                    <a:lnTo>
                      <a:pt x="5" y="0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17" y="16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3" name="Freeform 27"/>
              <p:cNvSpPr>
                <a:spLocks/>
              </p:cNvSpPr>
              <p:nvPr/>
            </p:nvSpPr>
            <p:spPr bwMode="gray">
              <a:xfrm>
                <a:off x="5892157" y="3749675"/>
                <a:ext cx="187325" cy="395288"/>
              </a:xfrm>
              <a:custGeom>
                <a:avLst/>
                <a:gdLst>
                  <a:gd name="T0" fmla="*/ 2147483647 w 39"/>
                  <a:gd name="T1" fmla="*/ 2147483647 h 147"/>
                  <a:gd name="T2" fmla="*/ 2147483647 w 39"/>
                  <a:gd name="T3" fmla="*/ 2147483647 h 147"/>
                  <a:gd name="T4" fmla="*/ 2147483647 w 39"/>
                  <a:gd name="T5" fmla="*/ 2147483647 h 147"/>
                  <a:gd name="T6" fmla="*/ 2147483647 w 39"/>
                  <a:gd name="T7" fmla="*/ 2147483647 h 147"/>
                  <a:gd name="T8" fmla="*/ 2147483647 w 39"/>
                  <a:gd name="T9" fmla="*/ 2147483647 h 147"/>
                  <a:gd name="T10" fmla="*/ 0 w 39"/>
                  <a:gd name="T11" fmla="*/ 2147483647 h 147"/>
                  <a:gd name="T12" fmla="*/ 2147483647 w 39"/>
                  <a:gd name="T13" fmla="*/ 2147483647 h 147"/>
                  <a:gd name="T14" fmla="*/ 2147483647 w 39"/>
                  <a:gd name="T15" fmla="*/ 2147483647 h 147"/>
                  <a:gd name="T16" fmla="*/ 2147483647 w 39"/>
                  <a:gd name="T17" fmla="*/ 2147483647 h 147"/>
                  <a:gd name="T18" fmla="*/ 2147483647 w 39"/>
                  <a:gd name="T19" fmla="*/ 2147483647 h 147"/>
                  <a:gd name="T20" fmla="*/ 2147483647 w 39"/>
                  <a:gd name="T21" fmla="*/ 2147483647 h 147"/>
                  <a:gd name="T22" fmla="*/ 2147483647 w 39"/>
                  <a:gd name="T23" fmla="*/ 2147483647 h 147"/>
                  <a:gd name="T24" fmla="*/ 2147483647 w 39"/>
                  <a:gd name="T25" fmla="*/ 2147483647 h 147"/>
                  <a:gd name="T26" fmla="*/ 2147483647 w 39"/>
                  <a:gd name="T27" fmla="*/ 2147483647 h 147"/>
                  <a:gd name="T28" fmla="*/ 2147483647 w 39"/>
                  <a:gd name="T29" fmla="*/ 2147483647 h 147"/>
                  <a:gd name="T30" fmla="*/ 2147483647 w 39"/>
                  <a:gd name="T31" fmla="*/ 2147483647 h 147"/>
                  <a:gd name="T32" fmla="*/ 2147483647 w 39"/>
                  <a:gd name="T33" fmla="*/ 2147483647 h 147"/>
                  <a:gd name="T34" fmla="*/ 2147483647 w 39"/>
                  <a:gd name="T35" fmla="*/ 0 h 147"/>
                  <a:gd name="T36" fmla="*/ 2147483647 w 39"/>
                  <a:gd name="T37" fmla="*/ 2147483647 h 147"/>
                  <a:gd name="T38" fmla="*/ 2147483647 w 39"/>
                  <a:gd name="T39" fmla="*/ 2147483647 h 147"/>
                  <a:gd name="T40" fmla="*/ 2147483647 w 39"/>
                  <a:gd name="T41" fmla="*/ 2147483647 h 147"/>
                  <a:gd name="T42" fmla="*/ 2147483647 w 39"/>
                  <a:gd name="T43" fmla="*/ 2147483647 h 147"/>
                  <a:gd name="T44" fmla="*/ 2147483647 w 39"/>
                  <a:gd name="T45" fmla="*/ 2147483647 h 147"/>
                  <a:gd name="T46" fmla="*/ 2147483647 w 39"/>
                  <a:gd name="T47" fmla="*/ 2147483647 h 147"/>
                  <a:gd name="T48" fmla="*/ 2147483647 w 39"/>
                  <a:gd name="T49" fmla="*/ 2147483647 h 147"/>
                  <a:gd name="T50" fmla="*/ 2147483647 w 39"/>
                  <a:gd name="T51" fmla="*/ 2147483647 h 147"/>
                  <a:gd name="T52" fmla="*/ 2147483647 w 39"/>
                  <a:gd name="T53" fmla="*/ 2147483647 h 147"/>
                  <a:gd name="T54" fmla="*/ 2147483647 w 39"/>
                  <a:gd name="T55" fmla="*/ 2147483647 h 147"/>
                  <a:gd name="T56" fmla="*/ 2147483647 w 39"/>
                  <a:gd name="T57" fmla="*/ 2147483647 h 147"/>
                  <a:gd name="T58" fmla="*/ 2147483647 w 39"/>
                  <a:gd name="T59" fmla="*/ 2147483647 h 147"/>
                  <a:gd name="T60" fmla="*/ 2147483647 w 39"/>
                  <a:gd name="T61" fmla="*/ 2147483647 h 147"/>
                  <a:gd name="T62" fmla="*/ 2147483647 w 39"/>
                  <a:gd name="T63" fmla="*/ 2147483647 h 1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9"/>
                  <a:gd name="T97" fmla="*/ 0 h 147"/>
                  <a:gd name="T98" fmla="*/ 39 w 39"/>
                  <a:gd name="T99" fmla="*/ 147 h 14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9" h="147">
                    <a:moveTo>
                      <a:pt x="22" y="144"/>
                    </a:moveTo>
                    <a:lnTo>
                      <a:pt x="16" y="147"/>
                    </a:lnTo>
                    <a:lnTo>
                      <a:pt x="10" y="147"/>
                    </a:lnTo>
                    <a:lnTo>
                      <a:pt x="8" y="136"/>
                    </a:lnTo>
                    <a:lnTo>
                      <a:pt x="1" y="113"/>
                    </a:lnTo>
                    <a:lnTo>
                      <a:pt x="0" y="69"/>
                    </a:lnTo>
                    <a:lnTo>
                      <a:pt x="6" y="67"/>
                    </a:lnTo>
                    <a:lnTo>
                      <a:pt x="13" y="67"/>
                    </a:lnTo>
                    <a:lnTo>
                      <a:pt x="17" y="73"/>
                    </a:lnTo>
                    <a:lnTo>
                      <a:pt x="20" y="73"/>
                    </a:lnTo>
                    <a:lnTo>
                      <a:pt x="21" y="63"/>
                    </a:lnTo>
                    <a:lnTo>
                      <a:pt x="19" y="57"/>
                    </a:lnTo>
                    <a:lnTo>
                      <a:pt x="4" y="57"/>
                    </a:lnTo>
                    <a:lnTo>
                      <a:pt x="8" y="36"/>
                    </a:lnTo>
                    <a:lnTo>
                      <a:pt x="19" y="36"/>
                    </a:lnTo>
                    <a:lnTo>
                      <a:pt x="23" y="11"/>
                    </a:lnTo>
                    <a:lnTo>
                      <a:pt x="31" y="6"/>
                    </a:lnTo>
                    <a:lnTo>
                      <a:pt x="34" y="0"/>
                    </a:lnTo>
                    <a:lnTo>
                      <a:pt x="33" y="10"/>
                    </a:lnTo>
                    <a:lnTo>
                      <a:pt x="34" y="29"/>
                    </a:lnTo>
                    <a:lnTo>
                      <a:pt x="32" y="46"/>
                    </a:lnTo>
                    <a:lnTo>
                      <a:pt x="15" y="44"/>
                    </a:lnTo>
                    <a:lnTo>
                      <a:pt x="15" y="52"/>
                    </a:lnTo>
                    <a:lnTo>
                      <a:pt x="27" y="48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39" y="57"/>
                    </a:lnTo>
                    <a:lnTo>
                      <a:pt x="38" y="69"/>
                    </a:lnTo>
                    <a:lnTo>
                      <a:pt x="34" y="67"/>
                    </a:lnTo>
                    <a:lnTo>
                      <a:pt x="34" y="86"/>
                    </a:lnTo>
                    <a:lnTo>
                      <a:pt x="20" y="101"/>
                    </a:lnTo>
                    <a:lnTo>
                      <a:pt x="22" y="144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4" name="Freeform 28"/>
              <p:cNvSpPr>
                <a:spLocks/>
              </p:cNvSpPr>
              <p:nvPr/>
            </p:nvSpPr>
            <p:spPr bwMode="gray">
              <a:xfrm>
                <a:off x="6958957" y="3521075"/>
                <a:ext cx="292100" cy="312738"/>
              </a:xfrm>
              <a:custGeom>
                <a:avLst/>
                <a:gdLst>
                  <a:gd name="T0" fmla="*/ 2147483647 w 61"/>
                  <a:gd name="T1" fmla="*/ 0 h 115"/>
                  <a:gd name="T2" fmla="*/ 2147483647 w 61"/>
                  <a:gd name="T3" fmla="*/ 2147483647 h 115"/>
                  <a:gd name="T4" fmla="*/ 2147483647 w 61"/>
                  <a:gd name="T5" fmla="*/ 2147483647 h 115"/>
                  <a:gd name="T6" fmla="*/ 2147483647 w 61"/>
                  <a:gd name="T7" fmla="*/ 2147483647 h 115"/>
                  <a:gd name="T8" fmla="*/ 2147483647 w 61"/>
                  <a:gd name="T9" fmla="*/ 2147483647 h 115"/>
                  <a:gd name="T10" fmla="*/ 2147483647 w 61"/>
                  <a:gd name="T11" fmla="*/ 2147483647 h 115"/>
                  <a:gd name="T12" fmla="*/ 2147483647 w 61"/>
                  <a:gd name="T13" fmla="*/ 2147483647 h 115"/>
                  <a:gd name="T14" fmla="*/ 2147483647 w 61"/>
                  <a:gd name="T15" fmla="*/ 2147483647 h 115"/>
                  <a:gd name="T16" fmla="*/ 2147483647 w 61"/>
                  <a:gd name="T17" fmla="*/ 2147483647 h 115"/>
                  <a:gd name="T18" fmla="*/ 2147483647 w 61"/>
                  <a:gd name="T19" fmla="*/ 2147483647 h 115"/>
                  <a:gd name="T20" fmla="*/ 2147483647 w 61"/>
                  <a:gd name="T21" fmla="*/ 2147483647 h 115"/>
                  <a:gd name="T22" fmla="*/ 2147483647 w 61"/>
                  <a:gd name="T23" fmla="*/ 2147483647 h 115"/>
                  <a:gd name="T24" fmla="*/ 2147483647 w 61"/>
                  <a:gd name="T25" fmla="*/ 2147483647 h 115"/>
                  <a:gd name="T26" fmla="*/ 2147483647 w 61"/>
                  <a:gd name="T27" fmla="*/ 2147483647 h 115"/>
                  <a:gd name="T28" fmla="*/ 0 w 61"/>
                  <a:gd name="T29" fmla="*/ 2147483647 h 115"/>
                  <a:gd name="T30" fmla="*/ 0 w 61"/>
                  <a:gd name="T31" fmla="*/ 2147483647 h 115"/>
                  <a:gd name="T32" fmla="*/ 2147483647 w 61"/>
                  <a:gd name="T33" fmla="*/ 2147483647 h 115"/>
                  <a:gd name="T34" fmla="*/ 2147483647 w 61"/>
                  <a:gd name="T35" fmla="*/ 2147483647 h 115"/>
                  <a:gd name="T36" fmla="*/ 2147483647 w 61"/>
                  <a:gd name="T37" fmla="*/ 2147483647 h 115"/>
                  <a:gd name="T38" fmla="*/ 2147483647 w 61"/>
                  <a:gd name="T39" fmla="*/ 2147483647 h 115"/>
                  <a:gd name="T40" fmla="*/ 2147483647 w 61"/>
                  <a:gd name="T41" fmla="*/ 0 h 11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1"/>
                  <a:gd name="T64" fmla="*/ 0 h 115"/>
                  <a:gd name="T65" fmla="*/ 61 w 61"/>
                  <a:gd name="T66" fmla="*/ 115 h 11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1" h="115">
                    <a:moveTo>
                      <a:pt x="30" y="0"/>
                    </a:moveTo>
                    <a:lnTo>
                      <a:pt x="47" y="13"/>
                    </a:lnTo>
                    <a:lnTo>
                      <a:pt x="61" y="13"/>
                    </a:lnTo>
                    <a:lnTo>
                      <a:pt x="52" y="44"/>
                    </a:lnTo>
                    <a:lnTo>
                      <a:pt x="52" y="61"/>
                    </a:lnTo>
                    <a:lnTo>
                      <a:pt x="48" y="78"/>
                    </a:lnTo>
                    <a:lnTo>
                      <a:pt x="51" y="96"/>
                    </a:lnTo>
                    <a:lnTo>
                      <a:pt x="46" y="99"/>
                    </a:lnTo>
                    <a:lnTo>
                      <a:pt x="42" y="115"/>
                    </a:lnTo>
                    <a:lnTo>
                      <a:pt x="32" y="109"/>
                    </a:lnTo>
                    <a:lnTo>
                      <a:pt x="20" y="92"/>
                    </a:lnTo>
                    <a:lnTo>
                      <a:pt x="10" y="96"/>
                    </a:lnTo>
                    <a:lnTo>
                      <a:pt x="10" y="73"/>
                    </a:lnTo>
                    <a:lnTo>
                      <a:pt x="4" y="80"/>
                    </a:lnTo>
                    <a:lnTo>
                      <a:pt x="0" y="63"/>
                    </a:lnTo>
                    <a:lnTo>
                      <a:pt x="0" y="29"/>
                    </a:lnTo>
                    <a:lnTo>
                      <a:pt x="9" y="17"/>
                    </a:lnTo>
                    <a:lnTo>
                      <a:pt x="16" y="25"/>
                    </a:lnTo>
                    <a:lnTo>
                      <a:pt x="21" y="11"/>
                    </a:lnTo>
                    <a:lnTo>
                      <a:pt x="30" y="13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5" name="Freeform 29"/>
              <p:cNvSpPr>
                <a:spLocks/>
              </p:cNvSpPr>
              <p:nvPr/>
            </p:nvSpPr>
            <p:spPr bwMode="gray">
              <a:xfrm>
                <a:off x="6763694" y="3954463"/>
                <a:ext cx="404813" cy="379412"/>
              </a:xfrm>
              <a:custGeom>
                <a:avLst/>
                <a:gdLst>
                  <a:gd name="T0" fmla="*/ 0 w 83"/>
                  <a:gd name="T1" fmla="*/ 2147483647 h 142"/>
                  <a:gd name="T2" fmla="*/ 2147483647 w 83"/>
                  <a:gd name="T3" fmla="*/ 2147483647 h 142"/>
                  <a:gd name="T4" fmla="*/ 2147483647 w 83"/>
                  <a:gd name="T5" fmla="*/ 2147483647 h 142"/>
                  <a:gd name="T6" fmla="*/ 2147483647 w 83"/>
                  <a:gd name="T7" fmla="*/ 2147483647 h 142"/>
                  <a:gd name="T8" fmla="*/ 2147483647 w 83"/>
                  <a:gd name="T9" fmla="*/ 0 h 142"/>
                  <a:gd name="T10" fmla="*/ 2147483647 w 83"/>
                  <a:gd name="T11" fmla="*/ 2147483647 h 142"/>
                  <a:gd name="T12" fmla="*/ 2147483647 w 83"/>
                  <a:gd name="T13" fmla="*/ 2147483647 h 142"/>
                  <a:gd name="T14" fmla="*/ 2147483647 w 83"/>
                  <a:gd name="T15" fmla="*/ 2147483647 h 142"/>
                  <a:gd name="T16" fmla="*/ 2147483647 w 83"/>
                  <a:gd name="T17" fmla="*/ 2147483647 h 142"/>
                  <a:gd name="T18" fmla="*/ 2147483647 w 83"/>
                  <a:gd name="T19" fmla="*/ 2147483647 h 142"/>
                  <a:gd name="T20" fmla="*/ 2147483647 w 83"/>
                  <a:gd name="T21" fmla="*/ 2147483647 h 142"/>
                  <a:gd name="T22" fmla="*/ 2147483647 w 83"/>
                  <a:gd name="T23" fmla="*/ 2147483647 h 142"/>
                  <a:gd name="T24" fmla="*/ 2147483647 w 83"/>
                  <a:gd name="T25" fmla="*/ 2147483647 h 142"/>
                  <a:gd name="T26" fmla="*/ 2147483647 w 83"/>
                  <a:gd name="T27" fmla="*/ 2147483647 h 142"/>
                  <a:gd name="T28" fmla="*/ 2147483647 w 83"/>
                  <a:gd name="T29" fmla="*/ 2147483647 h 142"/>
                  <a:gd name="T30" fmla="*/ 2147483647 w 83"/>
                  <a:gd name="T31" fmla="*/ 2147483647 h 142"/>
                  <a:gd name="T32" fmla="*/ 2147483647 w 83"/>
                  <a:gd name="T33" fmla="*/ 2147483647 h 142"/>
                  <a:gd name="T34" fmla="*/ 2147483647 w 83"/>
                  <a:gd name="T35" fmla="*/ 2147483647 h 142"/>
                  <a:gd name="T36" fmla="*/ 2147483647 w 83"/>
                  <a:gd name="T37" fmla="*/ 2147483647 h 142"/>
                  <a:gd name="T38" fmla="*/ 2147483647 w 83"/>
                  <a:gd name="T39" fmla="*/ 2147483647 h 142"/>
                  <a:gd name="T40" fmla="*/ 2147483647 w 83"/>
                  <a:gd name="T41" fmla="*/ 2147483647 h 142"/>
                  <a:gd name="T42" fmla="*/ 2147483647 w 83"/>
                  <a:gd name="T43" fmla="*/ 2147483647 h 142"/>
                  <a:gd name="T44" fmla="*/ 2147483647 w 83"/>
                  <a:gd name="T45" fmla="*/ 2147483647 h 142"/>
                  <a:gd name="T46" fmla="*/ 2147483647 w 83"/>
                  <a:gd name="T47" fmla="*/ 2147483647 h 142"/>
                  <a:gd name="T48" fmla="*/ 2147483647 w 83"/>
                  <a:gd name="T49" fmla="*/ 2147483647 h 142"/>
                  <a:gd name="T50" fmla="*/ 0 w 83"/>
                  <a:gd name="T51" fmla="*/ 2147483647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83"/>
                  <a:gd name="T79" fmla="*/ 0 h 142"/>
                  <a:gd name="T80" fmla="*/ 83 w 83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83" h="142">
                    <a:moveTo>
                      <a:pt x="0" y="17"/>
                    </a:moveTo>
                    <a:lnTo>
                      <a:pt x="18" y="6"/>
                    </a:lnTo>
                    <a:lnTo>
                      <a:pt x="33" y="9"/>
                    </a:lnTo>
                    <a:lnTo>
                      <a:pt x="44" y="6"/>
                    </a:lnTo>
                    <a:lnTo>
                      <a:pt x="53" y="0"/>
                    </a:lnTo>
                    <a:lnTo>
                      <a:pt x="59" y="8"/>
                    </a:lnTo>
                    <a:lnTo>
                      <a:pt x="69" y="9"/>
                    </a:lnTo>
                    <a:lnTo>
                      <a:pt x="72" y="21"/>
                    </a:lnTo>
                    <a:lnTo>
                      <a:pt x="78" y="27"/>
                    </a:lnTo>
                    <a:lnTo>
                      <a:pt x="83" y="52"/>
                    </a:lnTo>
                    <a:lnTo>
                      <a:pt x="74" y="73"/>
                    </a:lnTo>
                    <a:lnTo>
                      <a:pt x="68" y="88"/>
                    </a:lnTo>
                    <a:lnTo>
                      <a:pt x="69" y="117"/>
                    </a:lnTo>
                    <a:lnTo>
                      <a:pt x="59" y="117"/>
                    </a:lnTo>
                    <a:lnTo>
                      <a:pt x="56" y="132"/>
                    </a:lnTo>
                    <a:lnTo>
                      <a:pt x="42" y="142"/>
                    </a:lnTo>
                    <a:lnTo>
                      <a:pt x="42" y="124"/>
                    </a:lnTo>
                    <a:lnTo>
                      <a:pt x="29" y="99"/>
                    </a:lnTo>
                    <a:lnTo>
                      <a:pt x="30" y="88"/>
                    </a:lnTo>
                    <a:lnTo>
                      <a:pt x="29" y="77"/>
                    </a:lnTo>
                    <a:lnTo>
                      <a:pt x="27" y="69"/>
                    </a:lnTo>
                    <a:lnTo>
                      <a:pt x="22" y="67"/>
                    </a:lnTo>
                    <a:lnTo>
                      <a:pt x="17" y="63"/>
                    </a:lnTo>
                    <a:lnTo>
                      <a:pt x="8" y="59"/>
                    </a:lnTo>
                    <a:lnTo>
                      <a:pt x="4" y="54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6" name="Freeform 31"/>
              <p:cNvSpPr>
                <a:spLocks/>
              </p:cNvSpPr>
              <p:nvPr/>
            </p:nvSpPr>
            <p:spPr bwMode="gray">
              <a:xfrm>
                <a:off x="6196957" y="5895975"/>
                <a:ext cx="187325" cy="133350"/>
              </a:xfrm>
              <a:custGeom>
                <a:avLst/>
                <a:gdLst>
                  <a:gd name="T0" fmla="*/ 2147483647 w 40"/>
                  <a:gd name="T1" fmla="*/ 2147483647 h 50"/>
                  <a:gd name="T2" fmla="*/ 2147483647 w 40"/>
                  <a:gd name="T3" fmla="*/ 2147483647 h 50"/>
                  <a:gd name="T4" fmla="*/ 2147483647 w 40"/>
                  <a:gd name="T5" fmla="*/ 2147483647 h 50"/>
                  <a:gd name="T6" fmla="*/ 2147483647 w 40"/>
                  <a:gd name="T7" fmla="*/ 2147483647 h 50"/>
                  <a:gd name="T8" fmla="*/ 2147483647 w 40"/>
                  <a:gd name="T9" fmla="*/ 2147483647 h 50"/>
                  <a:gd name="T10" fmla="*/ 2147483647 w 40"/>
                  <a:gd name="T11" fmla="*/ 2147483647 h 50"/>
                  <a:gd name="T12" fmla="*/ 0 w 40"/>
                  <a:gd name="T13" fmla="*/ 2147483647 h 50"/>
                  <a:gd name="T14" fmla="*/ 2147483647 w 40"/>
                  <a:gd name="T15" fmla="*/ 2147483647 h 50"/>
                  <a:gd name="T16" fmla="*/ 2147483647 w 40"/>
                  <a:gd name="T17" fmla="*/ 2147483647 h 50"/>
                  <a:gd name="T18" fmla="*/ 2147483647 w 40"/>
                  <a:gd name="T19" fmla="*/ 2147483647 h 50"/>
                  <a:gd name="T20" fmla="*/ 2147483647 w 40"/>
                  <a:gd name="T21" fmla="*/ 2147483647 h 50"/>
                  <a:gd name="T22" fmla="*/ 2147483647 w 40"/>
                  <a:gd name="T23" fmla="*/ 2147483647 h 50"/>
                  <a:gd name="T24" fmla="*/ 2147483647 w 40"/>
                  <a:gd name="T25" fmla="*/ 2147483647 h 50"/>
                  <a:gd name="T26" fmla="*/ 2147483647 w 40"/>
                  <a:gd name="T27" fmla="*/ 0 h 50"/>
                  <a:gd name="T28" fmla="*/ 2147483647 w 40"/>
                  <a:gd name="T29" fmla="*/ 2147483647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0"/>
                  <a:gd name="T46" fmla="*/ 0 h 50"/>
                  <a:gd name="T47" fmla="*/ 40 w 40"/>
                  <a:gd name="T48" fmla="*/ 50 h 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0" h="50">
                    <a:moveTo>
                      <a:pt x="40" y="4"/>
                    </a:moveTo>
                    <a:lnTo>
                      <a:pt x="40" y="50"/>
                    </a:lnTo>
                    <a:lnTo>
                      <a:pt x="31" y="50"/>
                    </a:lnTo>
                    <a:lnTo>
                      <a:pt x="28" y="41"/>
                    </a:lnTo>
                    <a:lnTo>
                      <a:pt x="18" y="41"/>
                    </a:lnTo>
                    <a:lnTo>
                      <a:pt x="10" y="19"/>
                    </a:lnTo>
                    <a:lnTo>
                      <a:pt x="0" y="10"/>
                    </a:lnTo>
                    <a:lnTo>
                      <a:pt x="3" y="4"/>
                    </a:lnTo>
                    <a:lnTo>
                      <a:pt x="11" y="4"/>
                    </a:lnTo>
                    <a:lnTo>
                      <a:pt x="15" y="2"/>
                    </a:lnTo>
                    <a:lnTo>
                      <a:pt x="26" y="6"/>
                    </a:lnTo>
                    <a:lnTo>
                      <a:pt x="28" y="2"/>
                    </a:lnTo>
                    <a:lnTo>
                      <a:pt x="35" y="4"/>
                    </a:lnTo>
                    <a:lnTo>
                      <a:pt x="36" y="0"/>
                    </a:lnTo>
                    <a:lnTo>
                      <a:pt x="40" y="4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7" name="Freeform 32"/>
              <p:cNvSpPr>
                <a:spLocks/>
              </p:cNvSpPr>
              <p:nvPr/>
            </p:nvSpPr>
            <p:spPr bwMode="gray">
              <a:xfrm>
                <a:off x="5741344" y="4686300"/>
                <a:ext cx="50800" cy="71438"/>
              </a:xfrm>
              <a:custGeom>
                <a:avLst/>
                <a:gdLst>
                  <a:gd name="T0" fmla="*/ 0 w 11"/>
                  <a:gd name="T1" fmla="*/ 2147483647 h 27"/>
                  <a:gd name="T2" fmla="*/ 2147483647 w 11"/>
                  <a:gd name="T3" fmla="*/ 2147483647 h 27"/>
                  <a:gd name="T4" fmla="*/ 2147483647 w 11"/>
                  <a:gd name="T5" fmla="*/ 2147483647 h 27"/>
                  <a:gd name="T6" fmla="*/ 2147483647 w 11"/>
                  <a:gd name="T7" fmla="*/ 2147483647 h 27"/>
                  <a:gd name="T8" fmla="*/ 2147483647 w 11"/>
                  <a:gd name="T9" fmla="*/ 0 h 27"/>
                  <a:gd name="T10" fmla="*/ 2147483647 w 11"/>
                  <a:gd name="T11" fmla="*/ 2147483647 h 27"/>
                  <a:gd name="T12" fmla="*/ 0 w 11"/>
                  <a:gd name="T13" fmla="*/ 2147483647 h 27"/>
                  <a:gd name="T14" fmla="*/ 0 w 11"/>
                  <a:gd name="T15" fmla="*/ 2147483647 h 2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27"/>
                  <a:gd name="T26" fmla="*/ 11 w 11"/>
                  <a:gd name="T27" fmla="*/ 27 h 2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27">
                    <a:moveTo>
                      <a:pt x="0" y="21"/>
                    </a:moveTo>
                    <a:lnTo>
                      <a:pt x="5" y="21"/>
                    </a:lnTo>
                    <a:lnTo>
                      <a:pt x="11" y="27"/>
                    </a:lnTo>
                    <a:lnTo>
                      <a:pt x="8" y="10"/>
                    </a:lnTo>
                    <a:lnTo>
                      <a:pt x="8" y="0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8" name="Freeform 33"/>
              <p:cNvSpPr>
                <a:spLocks/>
              </p:cNvSpPr>
              <p:nvPr/>
            </p:nvSpPr>
            <p:spPr bwMode="gray">
              <a:xfrm>
                <a:off x="4879332" y="3778250"/>
                <a:ext cx="61912" cy="92075"/>
              </a:xfrm>
              <a:custGeom>
                <a:avLst/>
                <a:gdLst>
                  <a:gd name="T0" fmla="*/ 2147483647 w 13"/>
                  <a:gd name="T1" fmla="*/ 2147483647 h 33"/>
                  <a:gd name="T2" fmla="*/ 2147483647 w 13"/>
                  <a:gd name="T3" fmla="*/ 2147483647 h 33"/>
                  <a:gd name="T4" fmla="*/ 2147483647 w 13"/>
                  <a:gd name="T5" fmla="*/ 2147483647 h 33"/>
                  <a:gd name="T6" fmla="*/ 0 w 13"/>
                  <a:gd name="T7" fmla="*/ 2147483647 h 33"/>
                  <a:gd name="T8" fmla="*/ 2147483647 w 13"/>
                  <a:gd name="T9" fmla="*/ 2147483647 h 33"/>
                  <a:gd name="T10" fmla="*/ 2147483647 w 13"/>
                  <a:gd name="T11" fmla="*/ 2147483647 h 33"/>
                  <a:gd name="T12" fmla="*/ 2147483647 w 13"/>
                  <a:gd name="T13" fmla="*/ 2147483647 h 33"/>
                  <a:gd name="T14" fmla="*/ 2147483647 w 13"/>
                  <a:gd name="T15" fmla="*/ 0 h 33"/>
                  <a:gd name="T16" fmla="*/ 2147483647 w 13"/>
                  <a:gd name="T17" fmla="*/ 2147483647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33"/>
                  <a:gd name="T29" fmla="*/ 13 w 13"/>
                  <a:gd name="T30" fmla="*/ 33 h 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33">
                    <a:moveTo>
                      <a:pt x="13" y="27"/>
                    </a:moveTo>
                    <a:lnTo>
                      <a:pt x="13" y="33"/>
                    </a:lnTo>
                    <a:lnTo>
                      <a:pt x="5" y="23"/>
                    </a:lnTo>
                    <a:lnTo>
                      <a:pt x="0" y="22"/>
                    </a:lnTo>
                    <a:lnTo>
                      <a:pt x="1" y="12"/>
                    </a:lnTo>
                    <a:lnTo>
                      <a:pt x="5" y="14"/>
                    </a:lnTo>
                    <a:lnTo>
                      <a:pt x="5" y="2"/>
                    </a:lnTo>
                    <a:lnTo>
                      <a:pt x="9" y="0"/>
                    </a:lnTo>
                    <a:lnTo>
                      <a:pt x="13" y="27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39" name="Freeform 34"/>
              <p:cNvSpPr>
                <a:spLocks/>
              </p:cNvSpPr>
              <p:nvPr/>
            </p:nvSpPr>
            <p:spPr bwMode="gray">
              <a:xfrm>
                <a:off x="4871394" y="3665538"/>
                <a:ext cx="69850" cy="100012"/>
              </a:xfrm>
              <a:custGeom>
                <a:avLst/>
                <a:gdLst>
                  <a:gd name="T0" fmla="*/ 2147483647 w 16"/>
                  <a:gd name="T1" fmla="*/ 2147483647 h 39"/>
                  <a:gd name="T2" fmla="*/ 2147483647 w 16"/>
                  <a:gd name="T3" fmla="*/ 2147483647 h 39"/>
                  <a:gd name="T4" fmla="*/ 0 w 16"/>
                  <a:gd name="T5" fmla="*/ 2147483647 h 39"/>
                  <a:gd name="T6" fmla="*/ 2147483647 w 16"/>
                  <a:gd name="T7" fmla="*/ 2147483647 h 39"/>
                  <a:gd name="T8" fmla="*/ 2147483647 w 16"/>
                  <a:gd name="T9" fmla="*/ 2147483647 h 39"/>
                  <a:gd name="T10" fmla="*/ 2147483647 w 16"/>
                  <a:gd name="T11" fmla="*/ 2147483647 h 39"/>
                  <a:gd name="T12" fmla="*/ 2147483647 w 16"/>
                  <a:gd name="T13" fmla="*/ 2147483647 h 39"/>
                  <a:gd name="T14" fmla="*/ 2147483647 w 16"/>
                  <a:gd name="T15" fmla="*/ 0 h 39"/>
                  <a:gd name="T16" fmla="*/ 2147483647 w 16"/>
                  <a:gd name="T17" fmla="*/ 2147483647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39"/>
                  <a:gd name="T29" fmla="*/ 16 w 16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39">
                    <a:moveTo>
                      <a:pt x="16" y="10"/>
                    </a:moveTo>
                    <a:lnTo>
                      <a:pt x="11" y="31"/>
                    </a:lnTo>
                    <a:lnTo>
                      <a:pt x="0" y="39"/>
                    </a:lnTo>
                    <a:lnTo>
                      <a:pt x="1" y="20"/>
                    </a:lnTo>
                    <a:lnTo>
                      <a:pt x="8" y="21"/>
                    </a:lnTo>
                    <a:lnTo>
                      <a:pt x="7" y="12"/>
                    </a:lnTo>
                    <a:lnTo>
                      <a:pt x="14" y="8"/>
                    </a:lnTo>
                    <a:lnTo>
                      <a:pt x="16" y="0"/>
                    </a:lnTo>
                    <a:lnTo>
                      <a:pt x="16" y="10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0" name="Freeform 35"/>
              <p:cNvSpPr>
                <a:spLocks/>
              </p:cNvSpPr>
              <p:nvPr/>
            </p:nvSpPr>
            <p:spPr bwMode="gray">
              <a:xfrm>
                <a:off x="4636444" y="4078288"/>
                <a:ext cx="322263" cy="458787"/>
              </a:xfrm>
              <a:custGeom>
                <a:avLst/>
                <a:gdLst>
                  <a:gd name="T0" fmla="*/ 2147483647 w 66"/>
                  <a:gd name="T1" fmla="*/ 2147483647 h 172"/>
                  <a:gd name="T2" fmla="*/ 2147483647 w 66"/>
                  <a:gd name="T3" fmla="*/ 2147483647 h 172"/>
                  <a:gd name="T4" fmla="*/ 2147483647 w 66"/>
                  <a:gd name="T5" fmla="*/ 2147483647 h 172"/>
                  <a:gd name="T6" fmla="*/ 2147483647 w 66"/>
                  <a:gd name="T7" fmla="*/ 2147483647 h 172"/>
                  <a:gd name="T8" fmla="*/ 2147483647 w 66"/>
                  <a:gd name="T9" fmla="*/ 2147483647 h 172"/>
                  <a:gd name="T10" fmla="*/ 2147483647 w 66"/>
                  <a:gd name="T11" fmla="*/ 2147483647 h 172"/>
                  <a:gd name="T12" fmla="*/ 2147483647 w 66"/>
                  <a:gd name="T13" fmla="*/ 2147483647 h 172"/>
                  <a:gd name="T14" fmla="*/ 2147483647 w 66"/>
                  <a:gd name="T15" fmla="*/ 2147483647 h 172"/>
                  <a:gd name="T16" fmla="*/ 2147483647 w 66"/>
                  <a:gd name="T17" fmla="*/ 2147483647 h 172"/>
                  <a:gd name="T18" fmla="*/ 2147483647 w 66"/>
                  <a:gd name="T19" fmla="*/ 2147483647 h 172"/>
                  <a:gd name="T20" fmla="*/ 2147483647 w 66"/>
                  <a:gd name="T21" fmla="*/ 2147483647 h 172"/>
                  <a:gd name="T22" fmla="*/ 2147483647 w 66"/>
                  <a:gd name="T23" fmla="*/ 2147483647 h 172"/>
                  <a:gd name="T24" fmla="*/ 0 w 66"/>
                  <a:gd name="T25" fmla="*/ 2147483647 h 172"/>
                  <a:gd name="T26" fmla="*/ 2147483647 w 66"/>
                  <a:gd name="T27" fmla="*/ 2147483647 h 172"/>
                  <a:gd name="T28" fmla="*/ 2147483647 w 66"/>
                  <a:gd name="T29" fmla="*/ 2147483647 h 172"/>
                  <a:gd name="T30" fmla="*/ 2147483647 w 66"/>
                  <a:gd name="T31" fmla="*/ 2147483647 h 172"/>
                  <a:gd name="T32" fmla="*/ 2147483647 w 66"/>
                  <a:gd name="T33" fmla="*/ 2147483647 h 172"/>
                  <a:gd name="T34" fmla="*/ 2147483647 w 66"/>
                  <a:gd name="T35" fmla="*/ 2147483647 h 172"/>
                  <a:gd name="T36" fmla="*/ 2147483647 w 66"/>
                  <a:gd name="T37" fmla="*/ 2147483647 h 172"/>
                  <a:gd name="T38" fmla="*/ 2147483647 w 66"/>
                  <a:gd name="T39" fmla="*/ 2147483647 h 172"/>
                  <a:gd name="T40" fmla="*/ 2147483647 w 66"/>
                  <a:gd name="T41" fmla="*/ 2147483647 h 172"/>
                  <a:gd name="T42" fmla="*/ 2147483647 w 66"/>
                  <a:gd name="T43" fmla="*/ 2147483647 h 172"/>
                  <a:gd name="T44" fmla="*/ 2147483647 w 66"/>
                  <a:gd name="T45" fmla="*/ 2147483647 h 172"/>
                  <a:gd name="T46" fmla="*/ 2147483647 w 66"/>
                  <a:gd name="T47" fmla="*/ 2147483647 h 172"/>
                  <a:gd name="T48" fmla="*/ 2147483647 w 66"/>
                  <a:gd name="T49" fmla="*/ 2147483647 h 172"/>
                  <a:gd name="T50" fmla="*/ 2147483647 w 66"/>
                  <a:gd name="T51" fmla="*/ 2147483647 h 172"/>
                  <a:gd name="T52" fmla="*/ 2147483647 w 66"/>
                  <a:gd name="T53" fmla="*/ 2147483647 h 172"/>
                  <a:gd name="T54" fmla="*/ 2147483647 w 66"/>
                  <a:gd name="T55" fmla="*/ 2147483647 h 172"/>
                  <a:gd name="T56" fmla="*/ 2147483647 w 66"/>
                  <a:gd name="T57" fmla="*/ 2147483647 h 172"/>
                  <a:gd name="T58" fmla="*/ 2147483647 w 66"/>
                  <a:gd name="T59" fmla="*/ 2147483647 h 172"/>
                  <a:gd name="T60" fmla="*/ 2147483647 w 66"/>
                  <a:gd name="T61" fmla="*/ 2147483647 h 172"/>
                  <a:gd name="T62" fmla="*/ 2147483647 w 66"/>
                  <a:gd name="T63" fmla="*/ 2147483647 h 172"/>
                  <a:gd name="T64" fmla="*/ 2147483647 w 66"/>
                  <a:gd name="T65" fmla="*/ 2147483647 h 172"/>
                  <a:gd name="T66" fmla="*/ 2147483647 w 66"/>
                  <a:gd name="T67" fmla="*/ 2147483647 h 172"/>
                  <a:gd name="T68" fmla="*/ 2147483647 w 66"/>
                  <a:gd name="T69" fmla="*/ 2147483647 h 172"/>
                  <a:gd name="T70" fmla="*/ 2147483647 w 66"/>
                  <a:gd name="T71" fmla="*/ 0 h 172"/>
                  <a:gd name="T72" fmla="*/ 2147483647 w 66"/>
                  <a:gd name="T73" fmla="*/ 0 h 172"/>
                  <a:gd name="T74" fmla="*/ 2147483647 w 66"/>
                  <a:gd name="T75" fmla="*/ 2147483647 h 172"/>
                  <a:gd name="T76" fmla="*/ 2147483647 w 66"/>
                  <a:gd name="T77" fmla="*/ 2147483647 h 172"/>
                  <a:gd name="T78" fmla="*/ 2147483647 w 66"/>
                  <a:gd name="T79" fmla="*/ 2147483647 h 172"/>
                  <a:gd name="T80" fmla="*/ 2147483647 w 66"/>
                  <a:gd name="T81" fmla="*/ 2147483647 h 172"/>
                  <a:gd name="T82" fmla="*/ 2147483647 w 66"/>
                  <a:gd name="T83" fmla="*/ 2147483647 h 172"/>
                  <a:gd name="T84" fmla="*/ 2147483647 w 66"/>
                  <a:gd name="T85" fmla="*/ 2147483647 h 172"/>
                  <a:gd name="T86" fmla="*/ 2147483647 w 66"/>
                  <a:gd name="T87" fmla="*/ 2147483647 h 172"/>
                  <a:gd name="T88" fmla="*/ 2147483647 w 66"/>
                  <a:gd name="T89" fmla="*/ 2147483647 h 172"/>
                  <a:gd name="T90" fmla="*/ 2147483647 w 66"/>
                  <a:gd name="T91" fmla="*/ 2147483647 h 172"/>
                  <a:gd name="T92" fmla="*/ 2147483647 w 66"/>
                  <a:gd name="T93" fmla="*/ 2147483647 h 172"/>
                  <a:gd name="T94" fmla="*/ 2147483647 w 66"/>
                  <a:gd name="T95" fmla="*/ 2147483647 h 172"/>
                  <a:gd name="T96" fmla="*/ 2147483647 w 66"/>
                  <a:gd name="T97" fmla="*/ 2147483647 h 17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6"/>
                  <a:gd name="T148" fmla="*/ 0 h 172"/>
                  <a:gd name="T149" fmla="*/ 66 w 66"/>
                  <a:gd name="T150" fmla="*/ 172 h 17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6" h="172">
                    <a:moveTo>
                      <a:pt x="63" y="65"/>
                    </a:moveTo>
                    <a:lnTo>
                      <a:pt x="60" y="67"/>
                    </a:lnTo>
                    <a:lnTo>
                      <a:pt x="66" y="84"/>
                    </a:lnTo>
                    <a:lnTo>
                      <a:pt x="63" y="91"/>
                    </a:lnTo>
                    <a:lnTo>
                      <a:pt x="66" y="118"/>
                    </a:lnTo>
                    <a:lnTo>
                      <a:pt x="54" y="147"/>
                    </a:lnTo>
                    <a:lnTo>
                      <a:pt x="33" y="166"/>
                    </a:lnTo>
                    <a:lnTo>
                      <a:pt x="30" y="160"/>
                    </a:lnTo>
                    <a:lnTo>
                      <a:pt x="26" y="172"/>
                    </a:lnTo>
                    <a:lnTo>
                      <a:pt x="13" y="172"/>
                    </a:lnTo>
                    <a:lnTo>
                      <a:pt x="14" y="158"/>
                    </a:lnTo>
                    <a:lnTo>
                      <a:pt x="3" y="158"/>
                    </a:lnTo>
                    <a:lnTo>
                      <a:pt x="0" y="151"/>
                    </a:lnTo>
                    <a:lnTo>
                      <a:pt x="8" y="145"/>
                    </a:lnTo>
                    <a:lnTo>
                      <a:pt x="14" y="126"/>
                    </a:lnTo>
                    <a:lnTo>
                      <a:pt x="9" y="126"/>
                    </a:lnTo>
                    <a:lnTo>
                      <a:pt x="11" y="112"/>
                    </a:lnTo>
                    <a:lnTo>
                      <a:pt x="19" y="97"/>
                    </a:lnTo>
                    <a:lnTo>
                      <a:pt x="20" y="90"/>
                    </a:lnTo>
                    <a:lnTo>
                      <a:pt x="14" y="95"/>
                    </a:lnTo>
                    <a:lnTo>
                      <a:pt x="9" y="86"/>
                    </a:lnTo>
                    <a:lnTo>
                      <a:pt x="11" y="65"/>
                    </a:lnTo>
                    <a:lnTo>
                      <a:pt x="3" y="55"/>
                    </a:lnTo>
                    <a:lnTo>
                      <a:pt x="3" y="45"/>
                    </a:lnTo>
                    <a:lnTo>
                      <a:pt x="8" y="45"/>
                    </a:lnTo>
                    <a:lnTo>
                      <a:pt x="8" y="38"/>
                    </a:lnTo>
                    <a:lnTo>
                      <a:pt x="19" y="45"/>
                    </a:lnTo>
                    <a:lnTo>
                      <a:pt x="26" y="45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5" y="28"/>
                    </a:lnTo>
                    <a:lnTo>
                      <a:pt x="25" y="17"/>
                    </a:lnTo>
                    <a:lnTo>
                      <a:pt x="33" y="11"/>
                    </a:lnTo>
                    <a:lnTo>
                      <a:pt x="44" y="11"/>
                    </a:lnTo>
                    <a:lnTo>
                      <a:pt x="45" y="0"/>
                    </a:lnTo>
                    <a:lnTo>
                      <a:pt x="51" y="0"/>
                    </a:lnTo>
                    <a:lnTo>
                      <a:pt x="53" y="7"/>
                    </a:lnTo>
                    <a:lnTo>
                      <a:pt x="50" y="11"/>
                    </a:lnTo>
                    <a:lnTo>
                      <a:pt x="44" y="24"/>
                    </a:lnTo>
                    <a:lnTo>
                      <a:pt x="42" y="45"/>
                    </a:lnTo>
                    <a:lnTo>
                      <a:pt x="39" y="49"/>
                    </a:lnTo>
                    <a:lnTo>
                      <a:pt x="42" y="51"/>
                    </a:lnTo>
                    <a:lnTo>
                      <a:pt x="50" y="53"/>
                    </a:lnTo>
                    <a:lnTo>
                      <a:pt x="50" y="44"/>
                    </a:lnTo>
                    <a:lnTo>
                      <a:pt x="55" y="44"/>
                    </a:lnTo>
                    <a:lnTo>
                      <a:pt x="56" y="53"/>
                    </a:lnTo>
                    <a:lnTo>
                      <a:pt x="65" y="57"/>
                    </a:lnTo>
                    <a:lnTo>
                      <a:pt x="63" y="65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1" name="Freeform 36"/>
              <p:cNvSpPr>
                <a:spLocks/>
              </p:cNvSpPr>
              <p:nvPr/>
            </p:nvSpPr>
            <p:spPr bwMode="gray">
              <a:xfrm>
                <a:off x="4828532" y="4086225"/>
                <a:ext cx="171450" cy="138113"/>
              </a:xfrm>
              <a:custGeom>
                <a:avLst/>
                <a:gdLst>
                  <a:gd name="T0" fmla="*/ 2147483647 w 35"/>
                  <a:gd name="T1" fmla="*/ 2147483647 h 54"/>
                  <a:gd name="T2" fmla="*/ 2147483647 w 35"/>
                  <a:gd name="T3" fmla="*/ 2147483647 h 54"/>
                  <a:gd name="T4" fmla="*/ 2147483647 w 35"/>
                  <a:gd name="T5" fmla="*/ 2147483647 h 54"/>
                  <a:gd name="T6" fmla="*/ 2147483647 w 35"/>
                  <a:gd name="T7" fmla="*/ 2147483647 h 54"/>
                  <a:gd name="T8" fmla="*/ 0 w 35"/>
                  <a:gd name="T9" fmla="*/ 2147483647 h 54"/>
                  <a:gd name="T10" fmla="*/ 2147483647 w 35"/>
                  <a:gd name="T11" fmla="*/ 2147483647 h 54"/>
                  <a:gd name="T12" fmla="*/ 2147483647 w 35"/>
                  <a:gd name="T13" fmla="*/ 2147483647 h 54"/>
                  <a:gd name="T14" fmla="*/ 2147483647 w 35"/>
                  <a:gd name="T15" fmla="*/ 2147483647 h 54"/>
                  <a:gd name="T16" fmla="*/ 2147483647 w 35"/>
                  <a:gd name="T17" fmla="*/ 2147483647 h 54"/>
                  <a:gd name="T18" fmla="*/ 2147483647 w 35"/>
                  <a:gd name="T19" fmla="*/ 2147483647 h 54"/>
                  <a:gd name="T20" fmla="*/ 2147483647 w 35"/>
                  <a:gd name="T21" fmla="*/ 2147483647 h 54"/>
                  <a:gd name="T22" fmla="*/ 2147483647 w 35"/>
                  <a:gd name="T23" fmla="*/ 2147483647 h 54"/>
                  <a:gd name="T24" fmla="*/ 2147483647 w 35"/>
                  <a:gd name="T25" fmla="*/ 2147483647 h 54"/>
                  <a:gd name="T26" fmla="*/ 2147483647 w 35"/>
                  <a:gd name="T27" fmla="*/ 2147483647 h 54"/>
                  <a:gd name="T28" fmla="*/ 2147483647 w 35"/>
                  <a:gd name="T29" fmla="*/ 2147483647 h 54"/>
                  <a:gd name="T30" fmla="*/ 2147483647 w 35"/>
                  <a:gd name="T31" fmla="*/ 2147483647 h 54"/>
                  <a:gd name="T32" fmla="*/ 2147483647 w 35"/>
                  <a:gd name="T33" fmla="*/ 0 h 54"/>
                  <a:gd name="T34" fmla="*/ 2147483647 w 35"/>
                  <a:gd name="T35" fmla="*/ 2147483647 h 54"/>
                  <a:gd name="T36" fmla="*/ 2147483647 w 35"/>
                  <a:gd name="T37" fmla="*/ 2147483647 h 54"/>
                  <a:gd name="T38" fmla="*/ 2147483647 w 35"/>
                  <a:gd name="T39" fmla="*/ 2147483647 h 5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5"/>
                  <a:gd name="T61" fmla="*/ 0 h 54"/>
                  <a:gd name="T62" fmla="*/ 35 w 35"/>
                  <a:gd name="T63" fmla="*/ 54 h 5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5" h="54">
                    <a:moveTo>
                      <a:pt x="15" y="6"/>
                    </a:moveTo>
                    <a:lnTo>
                      <a:pt x="13" y="10"/>
                    </a:lnTo>
                    <a:lnTo>
                      <a:pt x="6" y="23"/>
                    </a:lnTo>
                    <a:lnTo>
                      <a:pt x="3" y="43"/>
                    </a:lnTo>
                    <a:lnTo>
                      <a:pt x="0" y="46"/>
                    </a:lnTo>
                    <a:lnTo>
                      <a:pt x="4" y="50"/>
                    </a:lnTo>
                    <a:lnTo>
                      <a:pt x="11" y="50"/>
                    </a:lnTo>
                    <a:lnTo>
                      <a:pt x="12" y="41"/>
                    </a:lnTo>
                    <a:lnTo>
                      <a:pt x="17" y="43"/>
                    </a:lnTo>
                    <a:lnTo>
                      <a:pt x="18" y="50"/>
                    </a:lnTo>
                    <a:lnTo>
                      <a:pt x="27" y="54"/>
                    </a:lnTo>
                    <a:lnTo>
                      <a:pt x="35" y="43"/>
                    </a:lnTo>
                    <a:lnTo>
                      <a:pt x="35" y="31"/>
                    </a:lnTo>
                    <a:lnTo>
                      <a:pt x="31" y="27"/>
                    </a:lnTo>
                    <a:lnTo>
                      <a:pt x="30" y="23"/>
                    </a:lnTo>
                    <a:lnTo>
                      <a:pt x="29" y="10"/>
                    </a:lnTo>
                    <a:lnTo>
                      <a:pt x="23" y="0"/>
                    </a:lnTo>
                    <a:lnTo>
                      <a:pt x="23" y="4"/>
                    </a:lnTo>
                    <a:lnTo>
                      <a:pt x="21" y="4"/>
                    </a:lnTo>
                    <a:lnTo>
                      <a:pt x="15" y="6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256500" tIns="35100" rIns="67500" bIns="35100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0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2" name="Freeform 37"/>
              <p:cNvSpPr>
                <a:spLocks/>
              </p:cNvSpPr>
              <p:nvPr/>
            </p:nvSpPr>
            <p:spPr bwMode="gray">
              <a:xfrm>
                <a:off x="5015857" y="4537075"/>
                <a:ext cx="917575" cy="962025"/>
              </a:xfrm>
              <a:custGeom>
                <a:avLst/>
                <a:gdLst>
                  <a:gd name="T0" fmla="*/ 2147483647 w 189"/>
                  <a:gd name="T1" fmla="*/ 2147483647 h 358"/>
                  <a:gd name="T2" fmla="*/ 2147483647 w 189"/>
                  <a:gd name="T3" fmla="*/ 2147483647 h 358"/>
                  <a:gd name="T4" fmla="*/ 2147483647 w 189"/>
                  <a:gd name="T5" fmla="*/ 2147483647 h 358"/>
                  <a:gd name="T6" fmla="*/ 2147483647 w 189"/>
                  <a:gd name="T7" fmla="*/ 2147483647 h 358"/>
                  <a:gd name="T8" fmla="*/ 2147483647 w 189"/>
                  <a:gd name="T9" fmla="*/ 2147483647 h 358"/>
                  <a:gd name="T10" fmla="*/ 2147483647 w 189"/>
                  <a:gd name="T11" fmla="*/ 2147483647 h 358"/>
                  <a:gd name="T12" fmla="*/ 2147483647 w 189"/>
                  <a:gd name="T13" fmla="*/ 2147483647 h 358"/>
                  <a:gd name="T14" fmla="*/ 2147483647 w 189"/>
                  <a:gd name="T15" fmla="*/ 2147483647 h 358"/>
                  <a:gd name="T16" fmla="*/ 2147483647 w 189"/>
                  <a:gd name="T17" fmla="*/ 2147483647 h 358"/>
                  <a:gd name="T18" fmla="*/ 2147483647 w 189"/>
                  <a:gd name="T19" fmla="*/ 2147483647 h 358"/>
                  <a:gd name="T20" fmla="*/ 2147483647 w 189"/>
                  <a:gd name="T21" fmla="*/ 2147483647 h 358"/>
                  <a:gd name="T22" fmla="*/ 2147483647 w 189"/>
                  <a:gd name="T23" fmla="*/ 2147483647 h 358"/>
                  <a:gd name="T24" fmla="*/ 2147483647 w 189"/>
                  <a:gd name="T25" fmla="*/ 2147483647 h 358"/>
                  <a:gd name="T26" fmla="*/ 2147483647 w 189"/>
                  <a:gd name="T27" fmla="*/ 2147483647 h 358"/>
                  <a:gd name="T28" fmla="*/ 2147483647 w 189"/>
                  <a:gd name="T29" fmla="*/ 2147483647 h 358"/>
                  <a:gd name="T30" fmla="*/ 2147483647 w 189"/>
                  <a:gd name="T31" fmla="*/ 2147483647 h 358"/>
                  <a:gd name="T32" fmla="*/ 2147483647 w 189"/>
                  <a:gd name="T33" fmla="*/ 2147483647 h 358"/>
                  <a:gd name="T34" fmla="*/ 2147483647 w 189"/>
                  <a:gd name="T35" fmla="*/ 2147483647 h 358"/>
                  <a:gd name="T36" fmla="*/ 2147483647 w 189"/>
                  <a:gd name="T37" fmla="*/ 2147483647 h 358"/>
                  <a:gd name="T38" fmla="*/ 2147483647 w 189"/>
                  <a:gd name="T39" fmla="*/ 2147483647 h 358"/>
                  <a:gd name="T40" fmla="*/ 2147483647 w 189"/>
                  <a:gd name="T41" fmla="*/ 2147483647 h 358"/>
                  <a:gd name="T42" fmla="*/ 2147483647 w 189"/>
                  <a:gd name="T43" fmla="*/ 2147483647 h 358"/>
                  <a:gd name="T44" fmla="*/ 2147483647 w 189"/>
                  <a:gd name="T45" fmla="*/ 2147483647 h 358"/>
                  <a:gd name="T46" fmla="*/ 2147483647 w 189"/>
                  <a:gd name="T47" fmla="*/ 2147483647 h 358"/>
                  <a:gd name="T48" fmla="*/ 2147483647 w 189"/>
                  <a:gd name="T49" fmla="*/ 2147483647 h 358"/>
                  <a:gd name="T50" fmla="*/ 2147483647 w 189"/>
                  <a:gd name="T51" fmla="*/ 2147483647 h 358"/>
                  <a:gd name="T52" fmla="*/ 2147483647 w 189"/>
                  <a:gd name="T53" fmla="*/ 2147483647 h 358"/>
                  <a:gd name="T54" fmla="*/ 2147483647 w 189"/>
                  <a:gd name="T55" fmla="*/ 2147483647 h 358"/>
                  <a:gd name="T56" fmla="*/ 2147483647 w 189"/>
                  <a:gd name="T57" fmla="*/ 2147483647 h 358"/>
                  <a:gd name="T58" fmla="*/ 2147483647 w 189"/>
                  <a:gd name="T59" fmla="*/ 2147483647 h 358"/>
                  <a:gd name="T60" fmla="*/ 2147483647 w 189"/>
                  <a:gd name="T61" fmla="*/ 2147483647 h 358"/>
                  <a:gd name="T62" fmla="*/ 2147483647 w 189"/>
                  <a:gd name="T63" fmla="*/ 2147483647 h 358"/>
                  <a:gd name="T64" fmla="*/ 2147483647 w 189"/>
                  <a:gd name="T65" fmla="*/ 2147483647 h 358"/>
                  <a:gd name="T66" fmla="*/ 2147483647 w 189"/>
                  <a:gd name="T67" fmla="*/ 2147483647 h 358"/>
                  <a:gd name="T68" fmla="*/ 2147483647 w 189"/>
                  <a:gd name="T69" fmla="*/ 2147483647 h 358"/>
                  <a:gd name="T70" fmla="*/ 2147483647 w 189"/>
                  <a:gd name="T71" fmla="*/ 2147483647 h 358"/>
                  <a:gd name="T72" fmla="*/ 2147483647 w 189"/>
                  <a:gd name="T73" fmla="*/ 0 h 358"/>
                  <a:gd name="T74" fmla="*/ 2147483647 w 189"/>
                  <a:gd name="T75" fmla="*/ 2147483647 h 358"/>
                  <a:gd name="T76" fmla="*/ 2147483647 w 189"/>
                  <a:gd name="T77" fmla="*/ 2147483647 h 358"/>
                  <a:gd name="T78" fmla="*/ 2147483647 w 189"/>
                  <a:gd name="T79" fmla="*/ 2147483647 h 358"/>
                  <a:gd name="T80" fmla="*/ 2147483647 w 189"/>
                  <a:gd name="T81" fmla="*/ 2147483647 h 358"/>
                  <a:gd name="T82" fmla="*/ 2147483647 w 189"/>
                  <a:gd name="T83" fmla="*/ 2147483647 h 358"/>
                  <a:gd name="T84" fmla="*/ 2147483647 w 189"/>
                  <a:gd name="T85" fmla="*/ 2147483647 h 358"/>
                  <a:gd name="T86" fmla="*/ 2147483647 w 189"/>
                  <a:gd name="T87" fmla="*/ 2147483647 h 358"/>
                  <a:gd name="T88" fmla="*/ 2147483647 w 189"/>
                  <a:gd name="T89" fmla="*/ 2147483647 h 358"/>
                  <a:gd name="T90" fmla="*/ 2147483647 w 189"/>
                  <a:gd name="T91" fmla="*/ 2147483647 h 358"/>
                  <a:gd name="T92" fmla="*/ 2147483647 w 189"/>
                  <a:gd name="T93" fmla="*/ 2147483647 h 358"/>
                  <a:gd name="T94" fmla="*/ 2147483647 w 189"/>
                  <a:gd name="T95" fmla="*/ 2147483647 h 358"/>
                  <a:gd name="T96" fmla="*/ 2147483647 w 189"/>
                  <a:gd name="T97" fmla="*/ 2147483647 h 358"/>
                  <a:gd name="T98" fmla="*/ 2147483647 w 189"/>
                  <a:gd name="T99" fmla="*/ 2147483647 h 35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89"/>
                  <a:gd name="T151" fmla="*/ 0 h 358"/>
                  <a:gd name="T152" fmla="*/ 189 w 189"/>
                  <a:gd name="T153" fmla="*/ 358 h 35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89" h="358">
                    <a:moveTo>
                      <a:pt x="172" y="152"/>
                    </a:moveTo>
                    <a:lnTo>
                      <a:pt x="168" y="163"/>
                    </a:lnTo>
                    <a:lnTo>
                      <a:pt x="161" y="171"/>
                    </a:lnTo>
                    <a:lnTo>
                      <a:pt x="158" y="211"/>
                    </a:lnTo>
                    <a:lnTo>
                      <a:pt x="162" y="213"/>
                    </a:lnTo>
                    <a:lnTo>
                      <a:pt x="166" y="203"/>
                    </a:lnTo>
                    <a:lnTo>
                      <a:pt x="174" y="209"/>
                    </a:lnTo>
                    <a:lnTo>
                      <a:pt x="176" y="217"/>
                    </a:lnTo>
                    <a:lnTo>
                      <a:pt x="173" y="223"/>
                    </a:lnTo>
                    <a:lnTo>
                      <a:pt x="175" y="232"/>
                    </a:lnTo>
                    <a:lnTo>
                      <a:pt x="170" y="249"/>
                    </a:lnTo>
                    <a:lnTo>
                      <a:pt x="171" y="257"/>
                    </a:lnTo>
                    <a:lnTo>
                      <a:pt x="173" y="265"/>
                    </a:lnTo>
                    <a:lnTo>
                      <a:pt x="171" y="274"/>
                    </a:lnTo>
                    <a:lnTo>
                      <a:pt x="179" y="284"/>
                    </a:lnTo>
                    <a:lnTo>
                      <a:pt x="179" y="288"/>
                    </a:lnTo>
                    <a:lnTo>
                      <a:pt x="176" y="293"/>
                    </a:lnTo>
                    <a:lnTo>
                      <a:pt x="177" y="301"/>
                    </a:lnTo>
                    <a:lnTo>
                      <a:pt x="172" y="311"/>
                    </a:lnTo>
                    <a:lnTo>
                      <a:pt x="156" y="324"/>
                    </a:lnTo>
                    <a:lnTo>
                      <a:pt x="153" y="316"/>
                    </a:lnTo>
                    <a:lnTo>
                      <a:pt x="149" y="314"/>
                    </a:lnTo>
                    <a:lnTo>
                      <a:pt x="148" y="309"/>
                    </a:lnTo>
                    <a:lnTo>
                      <a:pt x="142" y="309"/>
                    </a:lnTo>
                    <a:lnTo>
                      <a:pt x="136" y="309"/>
                    </a:lnTo>
                    <a:lnTo>
                      <a:pt x="133" y="303"/>
                    </a:lnTo>
                    <a:lnTo>
                      <a:pt x="118" y="320"/>
                    </a:lnTo>
                    <a:lnTo>
                      <a:pt x="118" y="341"/>
                    </a:lnTo>
                    <a:lnTo>
                      <a:pt x="120" y="345"/>
                    </a:lnTo>
                    <a:lnTo>
                      <a:pt x="108" y="358"/>
                    </a:lnTo>
                    <a:lnTo>
                      <a:pt x="89" y="349"/>
                    </a:lnTo>
                    <a:lnTo>
                      <a:pt x="87" y="341"/>
                    </a:lnTo>
                    <a:lnTo>
                      <a:pt x="80" y="345"/>
                    </a:lnTo>
                    <a:lnTo>
                      <a:pt x="58" y="330"/>
                    </a:lnTo>
                    <a:lnTo>
                      <a:pt x="53" y="324"/>
                    </a:lnTo>
                    <a:lnTo>
                      <a:pt x="53" y="316"/>
                    </a:lnTo>
                    <a:lnTo>
                      <a:pt x="50" y="309"/>
                    </a:lnTo>
                    <a:lnTo>
                      <a:pt x="54" y="301"/>
                    </a:lnTo>
                    <a:lnTo>
                      <a:pt x="58" y="272"/>
                    </a:lnTo>
                    <a:lnTo>
                      <a:pt x="56" y="236"/>
                    </a:lnTo>
                    <a:lnTo>
                      <a:pt x="52" y="224"/>
                    </a:lnTo>
                    <a:lnTo>
                      <a:pt x="55" y="219"/>
                    </a:lnTo>
                    <a:lnTo>
                      <a:pt x="55" y="201"/>
                    </a:lnTo>
                    <a:lnTo>
                      <a:pt x="47" y="196"/>
                    </a:lnTo>
                    <a:lnTo>
                      <a:pt x="36" y="161"/>
                    </a:lnTo>
                    <a:lnTo>
                      <a:pt x="24" y="161"/>
                    </a:lnTo>
                    <a:lnTo>
                      <a:pt x="17" y="146"/>
                    </a:lnTo>
                    <a:lnTo>
                      <a:pt x="12" y="152"/>
                    </a:lnTo>
                    <a:lnTo>
                      <a:pt x="0" y="138"/>
                    </a:lnTo>
                    <a:lnTo>
                      <a:pt x="4" y="131"/>
                    </a:lnTo>
                    <a:lnTo>
                      <a:pt x="2" y="123"/>
                    </a:lnTo>
                    <a:lnTo>
                      <a:pt x="7" y="119"/>
                    </a:lnTo>
                    <a:lnTo>
                      <a:pt x="4" y="113"/>
                    </a:lnTo>
                    <a:lnTo>
                      <a:pt x="9" y="106"/>
                    </a:lnTo>
                    <a:lnTo>
                      <a:pt x="18" y="102"/>
                    </a:lnTo>
                    <a:lnTo>
                      <a:pt x="18" y="96"/>
                    </a:lnTo>
                    <a:lnTo>
                      <a:pt x="25" y="98"/>
                    </a:lnTo>
                    <a:lnTo>
                      <a:pt x="30" y="110"/>
                    </a:lnTo>
                    <a:lnTo>
                      <a:pt x="37" y="102"/>
                    </a:lnTo>
                    <a:lnTo>
                      <a:pt x="38" y="111"/>
                    </a:lnTo>
                    <a:lnTo>
                      <a:pt x="50" y="110"/>
                    </a:lnTo>
                    <a:lnTo>
                      <a:pt x="46" y="90"/>
                    </a:lnTo>
                    <a:lnTo>
                      <a:pt x="39" y="71"/>
                    </a:lnTo>
                    <a:lnTo>
                      <a:pt x="49" y="71"/>
                    </a:lnTo>
                    <a:lnTo>
                      <a:pt x="52" y="87"/>
                    </a:lnTo>
                    <a:lnTo>
                      <a:pt x="59" y="87"/>
                    </a:lnTo>
                    <a:lnTo>
                      <a:pt x="65" y="90"/>
                    </a:lnTo>
                    <a:lnTo>
                      <a:pt x="74" y="87"/>
                    </a:lnTo>
                    <a:lnTo>
                      <a:pt x="75" y="69"/>
                    </a:lnTo>
                    <a:lnTo>
                      <a:pt x="79" y="69"/>
                    </a:lnTo>
                    <a:lnTo>
                      <a:pt x="91" y="54"/>
                    </a:lnTo>
                    <a:lnTo>
                      <a:pt x="91" y="12"/>
                    </a:lnTo>
                    <a:lnTo>
                      <a:pt x="99" y="0"/>
                    </a:lnTo>
                    <a:lnTo>
                      <a:pt x="103" y="0"/>
                    </a:lnTo>
                    <a:lnTo>
                      <a:pt x="106" y="14"/>
                    </a:lnTo>
                    <a:lnTo>
                      <a:pt x="113" y="20"/>
                    </a:lnTo>
                    <a:lnTo>
                      <a:pt x="116" y="23"/>
                    </a:lnTo>
                    <a:lnTo>
                      <a:pt x="115" y="31"/>
                    </a:lnTo>
                    <a:lnTo>
                      <a:pt x="119" y="41"/>
                    </a:lnTo>
                    <a:lnTo>
                      <a:pt x="128" y="43"/>
                    </a:lnTo>
                    <a:lnTo>
                      <a:pt x="127" y="56"/>
                    </a:lnTo>
                    <a:lnTo>
                      <a:pt x="129" y="58"/>
                    </a:lnTo>
                    <a:lnTo>
                      <a:pt x="139" y="52"/>
                    </a:lnTo>
                    <a:lnTo>
                      <a:pt x="140" y="62"/>
                    </a:lnTo>
                    <a:lnTo>
                      <a:pt x="142" y="69"/>
                    </a:lnTo>
                    <a:lnTo>
                      <a:pt x="149" y="69"/>
                    </a:lnTo>
                    <a:lnTo>
                      <a:pt x="154" y="71"/>
                    </a:lnTo>
                    <a:lnTo>
                      <a:pt x="160" y="77"/>
                    </a:lnTo>
                    <a:lnTo>
                      <a:pt x="164" y="79"/>
                    </a:lnTo>
                    <a:lnTo>
                      <a:pt x="173" y="96"/>
                    </a:lnTo>
                    <a:lnTo>
                      <a:pt x="178" y="92"/>
                    </a:lnTo>
                    <a:lnTo>
                      <a:pt x="181" y="87"/>
                    </a:lnTo>
                    <a:lnTo>
                      <a:pt x="183" y="94"/>
                    </a:lnTo>
                    <a:lnTo>
                      <a:pt x="187" y="94"/>
                    </a:lnTo>
                    <a:lnTo>
                      <a:pt x="189" y="104"/>
                    </a:lnTo>
                    <a:lnTo>
                      <a:pt x="187" y="115"/>
                    </a:lnTo>
                    <a:lnTo>
                      <a:pt x="179" y="131"/>
                    </a:lnTo>
                    <a:lnTo>
                      <a:pt x="178" y="138"/>
                    </a:lnTo>
                    <a:lnTo>
                      <a:pt x="181" y="150"/>
                    </a:lnTo>
                    <a:lnTo>
                      <a:pt x="172" y="152"/>
                    </a:lnTo>
                    <a:close/>
                  </a:path>
                </a:pathLst>
              </a:custGeom>
              <a:solidFill>
                <a:schemeClr val="tx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256500" tIns="35100" rIns="67500" bIns="35100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050" dirty="0">
                  <a:solidFill>
                    <a:srgbClr val="00965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3" name="Freeform 38"/>
              <p:cNvSpPr>
                <a:spLocks/>
              </p:cNvSpPr>
              <p:nvPr/>
            </p:nvSpPr>
            <p:spPr bwMode="gray">
              <a:xfrm>
                <a:off x="5574657" y="4316413"/>
                <a:ext cx="284162" cy="274637"/>
              </a:xfrm>
              <a:custGeom>
                <a:avLst/>
                <a:gdLst>
                  <a:gd name="T0" fmla="*/ 2147483647 w 60"/>
                  <a:gd name="T1" fmla="*/ 2147483647 h 103"/>
                  <a:gd name="T2" fmla="*/ 2147483647 w 60"/>
                  <a:gd name="T3" fmla="*/ 2147483647 h 103"/>
                  <a:gd name="T4" fmla="*/ 2147483647 w 60"/>
                  <a:gd name="T5" fmla="*/ 2147483647 h 103"/>
                  <a:gd name="T6" fmla="*/ 2147483647 w 60"/>
                  <a:gd name="T7" fmla="*/ 2147483647 h 103"/>
                  <a:gd name="T8" fmla="*/ 2147483647 w 60"/>
                  <a:gd name="T9" fmla="*/ 2147483647 h 103"/>
                  <a:gd name="T10" fmla="*/ 2147483647 w 60"/>
                  <a:gd name="T11" fmla="*/ 2147483647 h 103"/>
                  <a:gd name="T12" fmla="*/ 2147483647 w 60"/>
                  <a:gd name="T13" fmla="*/ 2147483647 h 103"/>
                  <a:gd name="T14" fmla="*/ 2147483647 w 60"/>
                  <a:gd name="T15" fmla="*/ 2147483647 h 103"/>
                  <a:gd name="T16" fmla="*/ 2147483647 w 60"/>
                  <a:gd name="T17" fmla="*/ 2147483647 h 103"/>
                  <a:gd name="T18" fmla="*/ 2147483647 w 60"/>
                  <a:gd name="T19" fmla="*/ 2147483647 h 103"/>
                  <a:gd name="T20" fmla="*/ 2147483647 w 60"/>
                  <a:gd name="T21" fmla="*/ 2147483647 h 103"/>
                  <a:gd name="T22" fmla="*/ 2147483647 w 60"/>
                  <a:gd name="T23" fmla="*/ 2147483647 h 103"/>
                  <a:gd name="T24" fmla="*/ 2147483647 w 60"/>
                  <a:gd name="T25" fmla="*/ 2147483647 h 103"/>
                  <a:gd name="T26" fmla="*/ 2147483647 w 60"/>
                  <a:gd name="T27" fmla="*/ 0 h 103"/>
                  <a:gd name="T28" fmla="*/ 2147483647 w 60"/>
                  <a:gd name="T29" fmla="*/ 2147483647 h 103"/>
                  <a:gd name="T30" fmla="*/ 2147483647 w 60"/>
                  <a:gd name="T31" fmla="*/ 2147483647 h 103"/>
                  <a:gd name="T32" fmla="*/ 2147483647 w 60"/>
                  <a:gd name="T33" fmla="*/ 2147483647 h 103"/>
                  <a:gd name="T34" fmla="*/ 2147483647 w 60"/>
                  <a:gd name="T35" fmla="*/ 2147483647 h 103"/>
                  <a:gd name="T36" fmla="*/ 2147483647 w 60"/>
                  <a:gd name="T37" fmla="*/ 2147483647 h 103"/>
                  <a:gd name="T38" fmla="*/ 2147483647 w 60"/>
                  <a:gd name="T39" fmla="*/ 2147483647 h 103"/>
                  <a:gd name="T40" fmla="*/ 2147483647 w 60"/>
                  <a:gd name="T41" fmla="*/ 2147483647 h 103"/>
                  <a:gd name="T42" fmla="*/ 2147483647 w 60"/>
                  <a:gd name="T43" fmla="*/ 2147483647 h 103"/>
                  <a:gd name="T44" fmla="*/ 2147483647 w 60"/>
                  <a:gd name="T45" fmla="*/ 2147483647 h 103"/>
                  <a:gd name="T46" fmla="*/ 2147483647 w 60"/>
                  <a:gd name="T47" fmla="*/ 2147483647 h 103"/>
                  <a:gd name="T48" fmla="*/ 2147483647 w 60"/>
                  <a:gd name="T49" fmla="*/ 2147483647 h 103"/>
                  <a:gd name="T50" fmla="*/ 2147483647 w 60"/>
                  <a:gd name="T51" fmla="*/ 2147483647 h 103"/>
                  <a:gd name="T52" fmla="*/ 2147483647 w 60"/>
                  <a:gd name="T53" fmla="*/ 2147483647 h 103"/>
                  <a:gd name="T54" fmla="*/ 0 w 60"/>
                  <a:gd name="T55" fmla="*/ 2147483647 h 103"/>
                  <a:gd name="T56" fmla="*/ 2147483647 w 60"/>
                  <a:gd name="T57" fmla="*/ 2147483647 h 103"/>
                  <a:gd name="T58" fmla="*/ 2147483647 w 60"/>
                  <a:gd name="T59" fmla="*/ 2147483647 h 103"/>
                  <a:gd name="T60" fmla="*/ 2147483647 w 60"/>
                  <a:gd name="T61" fmla="*/ 2147483647 h 103"/>
                  <a:gd name="T62" fmla="*/ 2147483647 w 60"/>
                  <a:gd name="T63" fmla="*/ 2147483647 h 103"/>
                  <a:gd name="T64" fmla="*/ 2147483647 w 60"/>
                  <a:gd name="T65" fmla="*/ 2147483647 h 103"/>
                  <a:gd name="T66" fmla="*/ 2147483647 w 60"/>
                  <a:gd name="T67" fmla="*/ 2147483647 h 103"/>
                  <a:gd name="T68" fmla="*/ 2147483647 w 60"/>
                  <a:gd name="T69" fmla="*/ 2147483647 h 10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60"/>
                  <a:gd name="T106" fmla="*/ 0 h 103"/>
                  <a:gd name="T107" fmla="*/ 60 w 60"/>
                  <a:gd name="T108" fmla="*/ 103 h 10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60" h="103">
                    <a:moveTo>
                      <a:pt x="42" y="103"/>
                    </a:moveTo>
                    <a:lnTo>
                      <a:pt x="44" y="92"/>
                    </a:lnTo>
                    <a:lnTo>
                      <a:pt x="42" y="84"/>
                    </a:lnTo>
                    <a:lnTo>
                      <a:pt x="42" y="72"/>
                    </a:lnTo>
                    <a:lnTo>
                      <a:pt x="44" y="70"/>
                    </a:lnTo>
                    <a:lnTo>
                      <a:pt x="51" y="72"/>
                    </a:lnTo>
                    <a:lnTo>
                      <a:pt x="55" y="69"/>
                    </a:lnTo>
                    <a:lnTo>
                      <a:pt x="55" y="55"/>
                    </a:lnTo>
                    <a:lnTo>
                      <a:pt x="60" y="42"/>
                    </a:lnTo>
                    <a:lnTo>
                      <a:pt x="58" y="34"/>
                    </a:lnTo>
                    <a:lnTo>
                      <a:pt x="58" y="13"/>
                    </a:lnTo>
                    <a:lnTo>
                      <a:pt x="54" y="2"/>
                    </a:lnTo>
                    <a:lnTo>
                      <a:pt x="46" y="3"/>
                    </a:lnTo>
                    <a:lnTo>
                      <a:pt x="36" y="0"/>
                    </a:lnTo>
                    <a:lnTo>
                      <a:pt x="31" y="5"/>
                    </a:lnTo>
                    <a:lnTo>
                      <a:pt x="31" y="30"/>
                    </a:lnTo>
                    <a:lnTo>
                      <a:pt x="34" y="38"/>
                    </a:lnTo>
                    <a:lnTo>
                      <a:pt x="30" y="44"/>
                    </a:lnTo>
                    <a:lnTo>
                      <a:pt x="27" y="44"/>
                    </a:lnTo>
                    <a:lnTo>
                      <a:pt x="24" y="36"/>
                    </a:lnTo>
                    <a:lnTo>
                      <a:pt x="25" y="17"/>
                    </a:lnTo>
                    <a:lnTo>
                      <a:pt x="17" y="9"/>
                    </a:lnTo>
                    <a:lnTo>
                      <a:pt x="14" y="19"/>
                    </a:lnTo>
                    <a:lnTo>
                      <a:pt x="16" y="34"/>
                    </a:lnTo>
                    <a:lnTo>
                      <a:pt x="10" y="47"/>
                    </a:lnTo>
                    <a:lnTo>
                      <a:pt x="9" y="59"/>
                    </a:lnTo>
                    <a:lnTo>
                      <a:pt x="7" y="67"/>
                    </a:lnTo>
                    <a:lnTo>
                      <a:pt x="0" y="80"/>
                    </a:lnTo>
                    <a:lnTo>
                      <a:pt x="17" y="82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1" y="84"/>
                    </a:lnTo>
                    <a:lnTo>
                      <a:pt x="37" y="86"/>
                    </a:lnTo>
                    <a:lnTo>
                      <a:pt x="37" y="97"/>
                    </a:lnTo>
                    <a:lnTo>
                      <a:pt x="42" y="103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4" name="Freeform 39"/>
              <p:cNvSpPr>
                <a:spLocks/>
              </p:cNvSpPr>
              <p:nvPr/>
            </p:nvSpPr>
            <p:spPr bwMode="gray">
              <a:xfrm>
                <a:off x="5517507" y="4508500"/>
                <a:ext cx="282575" cy="236538"/>
              </a:xfrm>
              <a:custGeom>
                <a:avLst/>
                <a:gdLst>
                  <a:gd name="T0" fmla="*/ 2147483647 w 58"/>
                  <a:gd name="T1" fmla="*/ 2147483647 h 88"/>
                  <a:gd name="T2" fmla="*/ 2147483647 w 58"/>
                  <a:gd name="T3" fmla="*/ 2147483647 h 88"/>
                  <a:gd name="T4" fmla="*/ 2147483647 w 58"/>
                  <a:gd name="T5" fmla="*/ 2147483647 h 88"/>
                  <a:gd name="T6" fmla="*/ 2147483647 w 58"/>
                  <a:gd name="T7" fmla="*/ 2147483647 h 88"/>
                  <a:gd name="T8" fmla="*/ 2147483647 w 58"/>
                  <a:gd name="T9" fmla="*/ 2147483647 h 88"/>
                  <a:gd name="T10" fmla="*/ 2147483647 w 58"/>
                  <a:gd name="T11" fmla="*/ 2147483647 h 88"/>
                  <a:gd name="T12" fmla="*/ 2147483647 w 58"/>
                  <a:gd name="T13" fmla="*/ 2147483647 h 88"/>
                  <a:gd name="T14" fmla="*/ 2147483647 w 58"/>
                  <a:gd name="T15" fmla="*/ 2147483647 h 88"/>
                  <a:gd name="T16" fmla="*/ 2147483647 w 58"/>
                  <a:gd name="T17" fmla="*/ 2147483647 h 88"/>
                  <a:gd name="T18" fmla="*/ 2147483647 w 58"/>
                  <a:gd name="T19" fmla="*/ 2147483647 h 88"/>
                  <a:gd name="T20" fmla="*/ 2147483647 w 58"/>
                  <a:gd name="T21" fmla="*/ 2147483647 h 88"/>
                  <a:gd name="T22" fmla="*/ 2147483647 w 58"/>
                  <a:gd name="T23" fmla="*/ 2147483647 h 88"/>
                  <a:gd name="T24" fmla="*/ 2147483647 w 58"/>
                  <a:gd name="T25" fmla="*/ 2147483647 h 88"/>
                  <a:gd name="T26" fmla="*/ 2147483647 w 58"/>
                  <a:gd name="T27" fmla="*/ 2147483647 h 88"/>
                  <a:gd name="T28" fmla="*/ 2147483647 w 58"/>
                  <a:gd name="T29" fmla="*/ 2147483647 h 88"/>
                  <a:gd name="T30" fmla="*/ 2147483647 w 58"/>
                  <a:gd name="T31" fmla="*/ 2147483647 h 88"/>
                  <a:gd name="T32" fmla="*/ 2147483647 w 58"/>
                  <a:gd name="T33" fmla="*/ 2147483647 h 88"/>
                  <a:gd name="T34" fmla="*/ 2147483647 w 58"/>
                  <a:gd name="T35" fmla="*/ 2147483647 h 88"/>
                  <a:gd name="T36" fmla="*/ 2147483647 w 58"/>
                  <a:gd name="T37" fmla="*/ 2147483647 h 88"/>
                  <a:gd name="T38" fmla="*/ 2147483647 w 58"/>
                  <a:gd name="T39" fmla="*/ 2147483647 h 88"/>
                  <a:gd name="T40" fmla="*/ 0 w 58"/>
                  <a:gd name="T41" fmla="*/ 2147483647 h 88"/>
                  <a:gd name="T42" fmla="*/ 2147483647 w 58"/>
                  <a:gd name="T43" fmla="*/ 2147483647 h 88"/>
                  <a:gd name="T44" fmla="*/ 2147483647 w 58"/>
                  <a:gd name="T45" fmla="*/ 2147483647 h 88"/>
                  <a:gd name="T46" fmla="*/ 2147483647 w 58"/>
                  <a:gd name="T47" fmla="*/ 2147483647 h 88"/>
                  <a:gd name="T48" fmla="*/ 2147483647 w 58"/>
                  <a:gd name="T49" fmla="*/ 2147483647 h 88"/>
                  <a:gd name="T50" fmla="*/ 2147483647 w 58"/>
                  <a:gd name="T51" fmla="*/ 0 h 88"/>
                  <a:gd name="T52" fmla="*/ 2147483647 w 58"/>
                  <a:gd name="T53" fmla="*/ 2147483647 h 88"/>
                  <a:gd name="T54" fmla="*/ 2147483647 w 58"/>
                  <a:gd name="T55" fmla="*/ 2147483647 h 88"/>
                  <a:gd name="T56" fmla="*/ 2147483647 w 58"/>
                  <a:gd name="T57" fmla="*/ 2147483647 h 88"/>
                  <a:gd name="T58" fmla="*/ 2147483647 w 58"/>
                  <a:gd name="T59" fmla="*/ 2147483647 h 88"/>
                  <a:gd name="T60" fmla="*/ 2147483647 w 58"/>
                  <a:gd name="T61" fmla="*/ 2147483647 h 8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58"/>
                  <a:gd name="T94" fmla="*/ 0 h 88"/>
                  <a:gd name="T95" fmla="*/ 58 w 58"/>
                  <a:gd name="T96" fmla="*/ 88 h 8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58" h="88">
                    <a:moveTo>
                      <a:pt x="54" y="31"/>
                    </a:moveTo>
                    <a:lnTo>
                      <a:pt x="54" y="42"/>
                    </a:lnTo>
                    <a:lnTo>
                      <a:pt x="58" y="48"/>
                    </a:lnTo>
                    <a:lnTo>
                      <a:pt x="58" y="56"/>
                    </a:lnTo>
                    <a:lnTo>
                      <a:pt x="53" y="64"/>
                    </a:lnTo>
                    <a:lnTo>
                      <a:pt x="53" y="67"/>
                    </a:lnTo>
                    <a:lnTo>
                      <a:pt x="48" y="73"/>
                    </a:lnTo>
                    <a:lnTo>
                      <a:pt x="46" y="79"/>
                    </a:lnTo>
                    <a:lnTo>
                      <a:pt x="46" y="88"/>
                    </a:lnTo>
                    <a:lnTo>
                      <a:pt x="39" y="87"/>
                    </a:lnTo>
                    <a:lnTo>
                      <a:pt x="36" y="81"/>
                    </a:lnTo>
                    <a:lnTo>
                      <a:pt x="36" y="69"/>
                    </a:lnTo>
                    <a:lnTo>
                      <a:pt x="26" y="77"/>
                    </a:lnTo>
                    <a:lnTo>
                      <a:pt x="24" y="73"/>
                    </a:lnTo>
                    <a:lnTo>
                      <a:pt x="24" y="60"/>
                    </a:lnTo>
                    <a:lnTo>
                      <a:pt x="15" y="58"/>
                    </a:lnTo>
                    <a:lnTo>
                      <a:pt x="12" y="48"/>
                    </a:lnTo>
                    <a:lnTo>
                      <a:pt x="13" y="42"/>
                    </a:lnTo>
                    <a:lnTo>
                      <a:pt x="10" y="39"/>
                    </a:lnTo>
                    <a:lnTo>
                      <a:pt x="3" y="31"/>
                    </a:lnTo>
                    <a:lnTo>
                      <a:pt x="0" y="18"/>
                    </a:lnTo>
                    <a:lnTo>
                      <a:pt x="3" y="18"/>
                    </a:lnTo>
                    <a:lnTo>
                      <a:pt x="6" y="18"/>
                    </a:lnTo>
                    <a:lnTo>
                      <a:pt x="12" y="8"/>
                    </a:lnTo>
                    <a:lnTo>
                      <a:pt x="29" y="10"/>
                    </a:lnTo>
                    <a:lnTo>
                      <a:pt x="34" y="0"/>
                    </a:lnTo>
                    <a:lnTo>
                      <a:pt x="41" y="2"/>
                    </a:lnTo>
                    <a:lnTo>
                      <a:pt x="43" y="12"/>
                    </a:lnTo>
                    <a:lnTo>
                      <a:pt x="49" y="14"/>
                    </a:lnTo>
                    <a:lnTo>
                      <a:pt x="48" y="25"/>
                    </a:lnTo>
                    <a:lnTo>
                      <a:pt x="54" y="31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5" name="Freeform 40"/>
              <p:cNvSpPr>
                <a:spLocks/>
              </p:cNvSpPr>
              <p:nvPr/>
            </p:nvSpPr>
            <p:spPr bwMode="gray">
              <a:xfrm>
                <a:off x="5784207" y="4932363"/>
                <a:ext cx="315912" cy="184150"/>
              </a:xfrm>
              <a:custGeom>
                <a:avLst/>
                <a:gdLst>
                  <a:gd name="T0" fmla="*/ 2147483647 w 65"/>
                  <a:gd name="T1" fmla="*/ 2147483647 h 71"/>
                  <a:gd name="T2" fmla="*/ 2147483647 w 65"/>
                  <a:gd name="T3" fmla="*/ 2147483647 h 71"/>
                  <a:gd name="T4" fmla="*/ 2147483647 w 65"/>
                  <a:gd name="T5" fmla="*/ 2147483647 h 71"/>
                  <a:gd name="T6" fmla="*/ 0 w 65"/>
                  <a:gd name="T7" fmla="*/ 2147483647 h 71"/>
                  <a:gd name="T8" fmla="*/ 2147483647 w 65"/>
                  <a:gd name="T9" fmla="*/ 2147483647 h 71"/>
                  <a:gd name="T10" fmla="*/ 2147483647 w 65"/>
                  <a:gd name="T11" fmla="*/ 2147483647 h 71"/>
                  <a:gd name="T12" fmla="*/ 2147483647 w 65"/>
                  <a:gd name="T13" fmla="*/ 2147483647 h 71"/>
                  <a:gd name="T14" fmla="*/ 2147483647 w 65"/>
                  <a:gd name="T15" fmla="*/ 2147483647 h 71"/>
                  <a:gd name="T16" fmla="*/ 2147483647 w 65"/>
                  <a:gd name="T17" fmla="*/ 2147483647 h 71"/>
                  <a:gd name="T18" fmla="*/ 2147483647 w 65"/>
                  <a:gd name="T19" fmla="*/ 2147483647 h 71"/>
                  <a:gd name="T20" fmla="*/ 2147483647 w 65"/>
                  <a:gd name="T21" fmla="*/ 2147483647 h 71"/>
                  <a:gd name="T22" fmla="*/ 2147483647 w 65"/>
                  <a:gd name="T23" fmla="*/ 2147483647 h 71"/>
                  <a:gd name="T24" fmla="*/ 2147483647 w 65"/>
                  <a:gd name="T25" fmla="*/ 2147483647 h 71"/>
                  <a:gd name="T26" fmla="*/ 2147483647 w 65"/>
                  <a:gd name="T27" fmla="*/ 2147483647 h 71"/>
                  <a:gd name="T28" fmla="*/ 2147483647 w 65"/>
                  <a:gd name="T29" fmla="*/ 2147483647 h 71"/>
                  <a:gd name="T30" fmla="*/ 2147483647 w 65"/>
                  <a:gd name="T31" fmla="*/ 2147483647 h 71"/>
                  <a:gd name="T32" fmla="*/ 2147483647 w 65"/>
                  <a:gd name="T33" fmla="*/ 2147483647 h 71"/>
                  <a:gd name="T34" fmla="*/ 2147483647 w 65"/>
                  <a:gd name="T35" fmla="*/ 2147483647 h 71"/>
                  <a:gd name="T36" fmla="*/ 2147483647 w 65"/>
                  <a:gd name="T37" fmla="*/ 2147483647 h 71"/>
                  <a:gd name="T38" fmla="*/ 2147483647 w 65"/>
                  <a:gd name="T39" fmla="*/ 2147483647 h 71"/>
                  <a:gd name="T40" fmla="*/ 2147483647 w 65"/>
                  <a:gd name="T41" fmla="*/ 2147483647 h 71"/>
                  <a:gd name="T42" fmla="*/ 2147483647 w 65"/>
                  <a:gd name="T43" fmla="*/ 2147483647 h 71"/>
                  <a:gd name="T44" fmla="*/ 2147483647 w 65"/>
                  <a:gd name="T45" fmla="*/ 2147483647 h 71"/>
                  <a:gd name="T46" fmla="*/ 2147483647 w 65"/>
                  <a:gd name="T47" fmla="*/ 2147483647 h 71"/>
                  <a:gd name="T48" fmla="*/ 2147483647 w 65"/>
                  <a:gd name="T49" fmla="*/ 0 h 71"/>
                  <a:gd name="T50" fmla="*/ 2147483647 w 65"/>
                  <a:gd name="T51" fmla="*/ 2147483647 h 71"/>
                  <a:gd name="T52" fmla="*/ 2147483647 w 65"/>
                  <a:gd name="T53" fmla="*/ 2147483647 h 71"/>
                  <a:gd name="T54" fmla="*/ 2147483647 w 65"/>
                  <a:gd name="T55" fmla="*/ 2147483647 h 7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65"/>
                  <a:gd name="T85" fmla="*/ 0 h 71"/>
                  <a:gd name="T86" fmla="*/ 65 w 65"/>
                  <a:gd name="T87" fmla="*/ 71 h 7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65" h="71">
                    <a:moveTo>
                      <a:pt x="14" y="8"/>
                    </a:moveTo>
                    <a:lnTo>
                      <a:pt x="10" y="17"/>
                    </a:lnTo>
                    <a:lnTo>
                      <a:pt x="2" y="25"/>
                    </a:lnTo>
                    <a:lnTo>
                      <a:pt x="0" y="65"/>
                    </a:lnTo>
                    <a:lnTo>
                      <a:pt x="3" y="67"/>
                    </a:lnTo>
                    <a:lnTo>
                      <a:pt x="8" y="58"/>
                    </a:lnTo>
                    <a:lnTo>
                      <a:pt x="16" y="63"/>
                    </a:lnTo>
                    <a:lnTo>
                      <a:pt x="18" y="71"/>
                    </a:lnTo>
                    <a:lnTo>
                      <a:pt x="30" y="67"/>
                    </a:lnTo>
                    <a:lnTo>
                      <a:pt x="33" y="58"/>
                    </a:lnTo>
                    <a:lnTo>
                      <a:pt x="35" y="58"/>
                    </a:lnTo>
                    <a:lnTo>
                      <a:pt x="37" y="71"/>
                    </a:lnTo>
                    <a:lnTo>
                      <a:pt x="49" y="67"/>
                    </a:lnTo>
                    <a:lnTo>
                      <a:pt x="50" y="56"/>
                    </a:lnTo>
                    <a:lnTo>
                      <a:pt x="54" y="58"/>
                    </a:lnTo>
                    <a:lnTo>
                      <a:pt x="59" y="65"/>
                    </a:lnTo>
                    <a:lnTo>
                      <a:pt x="63" y="63"/>
                    </a:lnTo>
                    <a:lnTo>
                      <a:pt x="60" y="56"/>
                    </a:lnTo>
                    <a:lnTo>
                      <a:pt x="65" y="50"/>
                    </a:lnTo>
                    <a:lnTo>
                      <a:pt x="62" y="38"/>
                    </a:lnTo>
                    <a:lnTo>
                      <a:pt x="60" y="29"/>
                    </a:lnTo>
                    <a:lnTo>
                      <a:pt x="52" y="14"/>
                    </a:lnTo>
                    <a:lnTo>
                      <a:pt x="47" y="8"/>
                    </a:lnTo>
                    <a:lnTo>
                      <a:pt x="41" y="8"/>
                    </a:lnTo>
                    <a:lnTo>
                      <a:pt x="38" y="0"/>
                    </a:lnTo>
                    <a:lnTo>
                      <a:pt x="30" y="6"/>
                    </a:lnTo>
                    <a:lnTo>
                      <a:pt x="23" y="4"/>
                    </a:lnTo>
                    <a:lnTo>
                      <a:pt x="14" y="8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6" name="Freeform 41"/>
              <p:cNvSpPr>
                <a:spLocks/>
              </p:cNvSpPr>
              <p:nvPr/>
            </p:nvSpPr>
            <p:spPr bwMode="gray">
              <a:xfrm>
                <a:off x="5833419" y="5016500"/>
                <a:ext cx="801688" cy="912813"/>
              </a:xfrm>
              <a:custGeom>
                <a:avLst/>
                <a:gdLst>
                  <a:gd name="T0" fmla="*/ 2147483647 w 167"/>
                  <a:gd name="T1" fmla="*/ 2147483647 h 339"/>
                  <a:gd name="T2" fmla="*/ 2147483647 w 167"/>
                  <a:gd name="T3" fmla="*/ 2147483647 h 339"/>
                  <a:gd name="T4" fmla="*/ 2147483647 w 167"/>
                  <a:gd name="T5" fmla="*/ 2147483647 h 339"/>
                  <a:gd name="T6" fmla="*/ 2147483647 w 167"/>
                  <a:gd name="T7" fmla="*/ 2147483647 h 339"/>
                  <a:gd name="T8" fmla="*/ 2147483647 w 167"/>
                  <a:gd name="T9" fmla="*/ 2147483647 h 339"/>
                  <a:gd name="T10" fmla="*/ 2147483647 w 167"/>
                  <a:gd name="T11" fmla="*/ 2147483647 h 339"/>
                  <a:gd name="T12" fmla="*/ 2147483647 w 167"/>
                  <a:gd name="T13" fmla="*/ 2147483647 h 339"/>
                  <a:gd name="T14" fmla="*/ 2147483647 w 167"/>
                  <a:gd name="T15" fmla="*/ 2147483647 h 339"/>
                  <a:gd name="T16" fmla="*/ 2147483647 w 167"/>
                  <a:gd name="T17" fmla="*/ 2147483647 h 339"/>
                  <a:gd name="T18" fmla="*/ 2147483647 w 167"/>
                  <a:gd name="T19" fmla="*/ 2147483647 h 339"/>
                  <a:gd name="T20" fmla="*/ 2147483647 w 167"/>
                  <a:gd name="T21" fmla="*/ 2147483647 h 339"/>
                  <a:gd name="T22" fmla="*/ 2147483647 w 167"/>
                  <a:gd name="T23" fmla="*/ 2147483647 h 339"/>
                  <a:gd name="T24" fmla="*/ 2147483647 w 167"/>
                  <a:gd name="T25" fmla="*/ 2147483647 h 339"/>
                  <a:gd name="T26" fmla="*/ 2147483647 w 167"/>
                  <a:gd name="T27" fmla="*/ 2147483647 h 339"/>
                  <a:gd name="T28" fmla="*/ 2147483647 w 167"/>
                  <a:gd name="T29" fmla="*/ 2147483647 h 339"/>
                  <a:gd name="T30" fmla="*/ 2147483647 w 167"/>
                  <a:gd name="T31" fmla="*/ 2147483647 h 339"/>
                  <a:gd name="T32" fmla="*/ 2147483647 w 167"/>
                  <a:gd name="T33" fmla="*/ 2147483647 h 339"/>
                  <a:gd name="T34" fmla="*/ 2147483647 w 167"/>
                  <a:gd name="T35" fmla="*/ 2147483647 h 339"/>
                  <a:gd name="T36" fmla="*/ 2147483647 w 167"/>
                  <a:gd name="T37" fmla="*/ 2147483647 h 339"/>
                  <a:gd name="T38" fmla="*/ 2147483647 w 167"/>
                  <a:gd name="T39" fmla="*/ 2147483647 h 339"/>
                  <a:gd name="T40" fmla="*/ 2147483647 w 167"/>
                  <a:gd name="T41" fmla="*/ 2147483647 h 339"/>
                  <a:gd name="T42" fmla="*/ 2147483647 w 167"/>
                  <a:gd name="T43" fmla="*/ 2147483647 h 339"/>
                  <a:gd name="T44" fmla="*/ 2147483647 w 167"/>
                  <a:gd name="T45" fmla="*/ 2147483647 h 339"/>
                  <a:gd name="T46" fmla="*/ 2147483647 w 167"/>
                  <a:gd name="T47" fmla="*/ 2147483647 h 339"/>
                  <a:gd name="T48" fmla="*/ 2147483647 w 167"/>
                  <a:gd name="T49" fmla="*/ 2147483647 h 339"/>
                  <a:gd name="T50" fmla="*/ 2147483647 w 167"/>
                  <a:gd name="T51" fmla="*/ 2147483647 h 339"/>
                  <a:gd name="T52" fmla="*/ 2147483647 w 167"/>
                  <a:gd name="T53" fmla="*/ 2147483647 h 339"/>
                  <a:gd name="T54" fmla="*/ 2147483647 w 167"/>
                  <a:gd name="T55" fmla="*/ 2147483647 h 339"/>
                  <a:gd name="T56" fmla="*/ 2147483647 w 167"/>
                  <a:gd name="T57" fmla="*/ 2147483647 h 339"/>
                  <a:gd name="T58" fmla="*/ 2147483647 w 167"/>
                  <a:gd name="T59" fmla="*/ 2147483647 h 339"/>
                  <a:gd name="T60" fmla="*/ 2147483647 w 167"/>
                  <a:gd name="T61" fmla="*/ 2147483647 h 339"/>
                  <a:gd name="T62" fmla="*/ 2147483647 w 167"/>
                  <a:gd name="T63" fmla="*/ 2147483647 h 339"/>
                  <a:gd name="T64" fmla="*/ 2147483647 w 167"/>
                  <a:gd name="T65" fmla="*/ 2147483647 h 339"/>
                  <a:gd name="T66" fmla="*/ 2147483647 w 167"/>
                  <a:gd name="T67" fmla="*/ 2147483647 h 339"/>
                  <a:gd name="T68" fmla="*/ 2147483647 w 167"/>
                  <a:gd name="T69" fmla="*/ 2147483647 h 339"/>
                  <a:gd name="T70" fmla="*/ 2147483647 w 167"/>
                  <a:gd name="T71" fmla="*/ 0 h 339"/>
                  <a:gd name="T72" fmla="*/ 2147483647 w 167"/>
                  <a:gd name="T73" fmla="*/ 2147483647 h 339"/>
                  <a:gd name="T74" fmla="*/ 2147483647 w 167"/>
                  <a:gd name="T75" fmla="*/ 2147483647 h 339"/>
                  <a:gd name="T76" fmla="*/ 2147483647 w 167"/>
                  <a:gd name="T77" fmla="*/ 2147483647 h 339"/>
                  <a:gd name="T78" fmla="*/ 2147483647 w 167"/>
                  <a:gd name="T79" fmla="*/ 2147483647 h 339"/>
                  <a:gd name="T80" fmla="*/ 2147483647 w 167"/>
                  <a:gd name="T81" fmla="*/ 2147483647 h 339"/>
                  <a:gd name="T82" fmla="*/ 2147483647 w 167"/>
                  <a:gd name="T83" fmla="*/ 2147483647 h 339"/>
                  <a:gd name="T84" fmla="*/ 2147483647 w 167"/>
                  <a:gd name="T85" fmla="*/ 2147483647 h 339"/>
                  <a:gd name="T86" fmla="*/ 2147483647 w 167"/>
                  <a:gd name="T87" fmla="*/ 2147483647 h 33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67"/>
                  <a:gd name="T133" fmla="*/ 0 h 339"/>
                  <a:gd name="T134" fmla="*/ 167 w 167"/>
                  <a:gd name="T135" fmla="*/ 339 h 33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67" h="339">
                    <a:moveTo>
                      <a:pt x="3" y="42"/>
                    </a:moveTo>
                    <a:lnTo>
                      <a:pt x="6" y="51"/>
                    </a:lnTo>
                    <a:lnTo>
                      <a:pt x="0" y="69"/>
                    </a:lnTo>
                    <a:lnTo>
                      <a:pt x="2" y="78"/>
                    </a:lnTo>
                    <a:lnTo>
                      <a:pt x="3" y="84"/>
                    </a:lnTo>
                    <a:lnTo>
                      <a:pt x="2" y="95"/>
                    </a:lnTo>
                    <a:lnTo>
                      <a:pt x="10" y="103"/>
                    </a:lnTo>
                    <a:lnTo>
                      <a:pt x="10" y="107"/>
                    </a:lnTo>
                    <a:lnTo>
                      <a:pt x="7" y="113"/>
                    </a:lnTo>
                    <a:lnTo>
                      <a:pt x="8" y="120"/>
                    </a:lnTo>
                    <a:lnTo>
                      <a:pt x="18" y="118"/>
                    </a:lnTo>
                    <a:lnTo>
                      <a:pt x="17" y="111"/>
                    </a:lnTo>
                    <a:lnTo>
                      <a:pt x="32" y="99"/>
                    </a:lnTo>
                    <a:lnTo>
                      <a:pt x="41" y="115"/>
                    </a:lnTo>
                    <a:lnTo>
                      <a:pt x="46" y="111"/>
                    </a:lnTo>
                    <a:lnTo>
                      <a:pt x="53" y="126"/>
                    </a:lnTo>
                    <a:lnTo>
                      <a:pt x="56" y="164"/>
                    </a:lnTo>
                    <a:lnTo>
                      <a:pt x="72" y="170"/>
                    </a:lnTo>
                    <a:lnTo>
                      <a:pt x="77" y="195"/>
                    </a:lnTo>
                    <a:lnTo>
                      <a:pt x="89" y="203"/>
                    </a:lnTo>
                    <a:lnTo>
                      <a:pt x="88" y="218"/>
                    </a:lnTo>
                    <a:lnTo>
                      <a:pt x="96" y="216"/>
                    </a:lnTo>
                    <a:lnTo>
                      <a:pt x="103" y="235"/>
                    </a:lnTo>
                    <a:lnTo>
                      <a:pt x="111" y="235"/>
                    </a:lnTo>
                    <a:lnTo>
                      <a:pt x="111" y="243"/>
                    </a:lnTo>
                    <a:lnTo>
                      <a:pt x="114" y="260"/>
                    </a:lnTo>
                    <a:lnTo>
                      <a:pt x="124" y="260"/>
                    </a:lnTo>
                    <a:lnTo>
                      <a:pt x="130" y="273"/>
                    </a:lnTo>
                    <a:lnTo>
                      <a:pt x="135" y="291"/>
                    </a:lnTo>
                    <a:lnTo>
                      <a:pt x="128" y="314"/>
                    </a:lnTo>
                    <a:lnTo>
                      <a:pt x="127" y="331"/>
                    </a:lnTo>
                    <a:lnTo>
                      <a:pt x="129" y="339"/>
                    </a:lnTo>
                    <a:lnTo>
                      <a:pt x="138" y="325"/>
                    </a:lnTo>
                    <a:lnTo>
                      <a:pt x="149" y="300"/>
                    </a:lnTo>
                    <a:lnTo>
                      <a:pt x="144" y="287"/>
                    </a:lnTo>
                    <a:lnTo>
                      <a:pt x="140" y="279"/>
                    </a:lnTo>
                    <a:lnTo>
                      <a:pt x="140" y="264"/>
                    </a:lnTo>
                    <a:lnTo>
                      <a:pt x="146" y="249"/>
                    </a:lnTo>
                    <a:lnTo>
                      <a:pt x="153" y="254"/>
                    </a:lnTo>
                    <a:lnTo>
                      <a:pt x="152" y="260"/>
                    </a:lnTo>
                    <a:lnTo>
                      <a:pt x="159" y="260"/>
                    </a:lnTo>
                    <a:lnTo>
                      <a:pt x="164" y="272"/>
                    </a:lnTo>
                    <a:lnTo>
                      <a:pt x="167" y="266"/>
                    </a:lnTo>
                    <a:lnTo>
                      <a:pt x="165" y="243"/>
                    </a:lnTo>
                    <a:lnTo>
                      <a:pt x="150" y="228"/>
                    </a:lnTo>
                    <a:lnTo>
                      <a:pt x="144" y="226"/>
                    </a:lnTo>
                    <a:lnTo>
                      <a:pt x="143" y="210"/>
                    </a:lnTo>
                    <a:lnTo>
                      <a:pt x="132" y="201"/>
                    </a:lnTo>
                    <a:lnTo>
                      <a:pt x="132" y="197"/>
                    </a:lnTo>
                    <a:lnTo>
                      <a:pt x="135" y="197"/>
                    </a:lnTo>
                    <a:lnTo>
                      <a:pt x="135" y="193"/>
                    </a:lnTo>
                    <a:lnTo>
                      <a:pt x="124" y="183"/>
                    </a:lnTo>
                    <a:lnTo>
                      <a:pt x="114" y="182"/>
                    </a:lnTo>
                    <a:lnTo>
                      <a:pt x="110" y="170"/>
                    </a:lnTo>
                    <a:lnTo>
                      <a:pt x="103" y="159"/>
                    </a:lnTo>
                    <a:lnTo>
                      <a:pt x="104" y="138"/>
                    </a:lnTo>
                    <a:lnTo>
                      <a:pt x="86" y="120"/>
                    </a:lnTo>
                    <a:lnTo>
                      <a:pt x="82" y="105"/>
                    </a:lnTo>
                    <a:lnTo>
                      <a:pt x="81" y="74"/>
                    </a:lnTo>
                    <a:lnTo>
                      <a:pt x="84" y="63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3" y="57"/>
                    </a:lnTo>
                    <a:lnTo>
                      <a:pt x="107" y="59"/>
                    </a:lnTo>
                    <a:lnTo>
                      <a:pt x="108" y="48"/>
                    </a:lnTo>
                    <a:lnTo>
                      <a:pt x="102" y="30"/>
                    </a:lnTo>
                    <a:lnTo>
                      <a:pt x="105" y="28"/>
                    </a:lnTo>
                    <a:lnTo>
                      <a:pt x="99" y="19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81" y="3"/>
                    </a:lnTo>
                    <a:lnTo>
                      <a:pt x="68" y="0"/>
                    </a:lnTo>
                    <a:lnTo>
                      <a:pt x="64" y="5"/>
                    </a:lnTo>
                    <a:lnTo>
                      <a:pt x="58" y="3"/>
                    </a:lnTo>
                    <a:lnTo>
                      <a:pt x="51" y="3"/>
                    </a:lnTo>
                    <a:lnTo>
                      <a:pt x="53" y="17"/>
                    </a:lnTo>
                    <a:lnTo>
                      <a:pt x="48" y="21"/>
                    </a:lnTo>
                    <a:lnTo>
                      <a:pt x="51" y="28"/>
                    </a:lnTo>
                    <a:lnTo>
                      <a:pt x="47" y="30"/>
                    </a:lnTo>
                    <a:lnTo>
                      <a:pt x="42" y="23"/>
                    </a:lnTo>
                    <a:lnTo>
                      <a:pt x="38" y="23"/>
                    </a:lnTo>
                    <a:lnTo>
                      <a:pt x="38" y="32"/>
                    </a:lnTo>
                    <a:lnTo>
                      <a:pt x="26" y="36"/>
                    </a:lnTo>
                    <a:lnTo>
                      <a:pt x="24" y="23"/>
                    </a:lnTo>
                    <a:lnTo>
                      <a:pt x="21" y="23"/>
                    </a:lnTo>
                    <a:lnTo>
                      <a:pt x="19" y="32"/>
                    </a:lnTo>
                    <a:lnTo>
                      <a:pt x="7" y="36"/>
                    </a:lnTo>
                    <a:lnTo>
                      <a:pt x="3" y="42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7" name="Freeform 42"/>
              <p:cNvSpPr>
                <a:spLocks/>
              </p:cNvSpPr>
              <p:nvPr/>
            </p:nvSpPr>
            <p:spPr bwMode="gray">
              <a:xfrm>
                <a:off x="5887394" y="5603875"/>
                <a:ext cx="117475" cy="238125"/>
              </a:xfrm>
              <a:custGeom>
                <a:avLst/>
                <a:gdLst>
                  <a:gd name="T0" fmla="*/ 2147483647 w 25"/>
                  <a:gd name="T1" fmla="*/ 0 h 88"/>
                  <a:gd name="T2" fmla="*/ 2147483647 w 25"/>
                  <a:gd name="T3" fmla="*/ 0 h 88"/>
                  <a:gd name="T4" fmla="*/ 2147483647 w 25"/>
                  <a:gd name="T5" fmla="*/ 2147483647 h 88"/>
                  <a:gd name="T6" fmla="*/ 2147483647 w 25"/>
                  <a:gd name="T7" fmla="*/ 2147483647 h 88"/>
                  <a:gd name="T8" fmla="*/ 2147483647 w 25"/>
                  <a:gd name="T9" fmla="*/ 2147483647 h 88"/>
                  <a:gd name="T10" fmla="*/ 2147483647 w 25"/>
                  <a:gd name="T11" fmla="*/ 2147483647 h 88"/>
                  <a:gd name="T12" fmla="*/ 0 w 25"/>
                  <a:gd name="T13" fmla="*/ 2147483647 h 88"/>
                  <a:gd name="T14" fmla="*/ 2147483647 w 25"/>
                  <a:gd name="T15" fmla="*/ 2147483647 h 88"/>
                  <a:gd name="T16" fmla="*/ 2147483647 w 25"/>
                  <a:gd name="T17" fmla="*/ 2147483647 h 88"/>
                  <a:gd name="T18" fmla="*/ 2147483647 w 25"/>
                  <a:gd name="T19" fmla="*/ 2147483647 h 88"/>
                  <a:gd name="T20" fmla="*/ 2147483647 w 25"/>
                  <a:gd name="T21" fmla="*/ 2147483647 h 88"/>
                  <a:gd name="T22" fmla="*/ 2147483647 w 25"/>
                  <a:gd name="T23" fmla="*/ 2147483647 h 88"/>
                  <a:gd name="T24" fmla="*/ 2147483647 w 25"/>
                  <a:gd name="T25" fmla="*/ 2147483647 h 88"/>
                  <a:gd name="T26" fmla="*/ 2147483647 w 25"/>
                  <a:gd name="T27" fmla="*/ 2147483647 h 88"/>
                  <a:gd name="T28" fmla="*/ 2147483647 w 25"/>
                  <a:gd name="T29" fmla="*/ 2147483647 h 88"/>
                  <a:gd name="T30" fmla="*/ 2147483647 w 25"/>
                  <a:gd name="T31" fmla="*/ 2147483647 h 88"/>
                  <a:gd name="T32" fmla="*/ 2147483647 w 25"/>
                  <a:gd name="T33" fmla="*/ 0 h 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"/>
                  <a:gd name="T52" fmla="*/ 0 h 88"/>
                  <a:gd name="T53" fmla="*/ 25 w 25"/>
                  <a:gd name="T54" fmla="*/ 88 h 8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" h="88">
                    <a:moveTo>
                      <a:pt x="20" y="0"/>
                    </a:moveTo>
                    <a:lnTo>
                      <a:pt x="17" y="0"/>
                    </a:lnTo>
                    <a:lnTo>
                      <a:pt x="12" y="12"/>
                    </a:lnTo>
                    <a:lnTo>
                      <a:pt x="6" y="10"/>
                    </a:lnTo>
                    <a:lnTo>
                      <a:pt x="3" y="17"/>
                    </a:lnTo>
                    <a:lnTo>
                      <a:pt x="5" y="48"/>
                    </a:lnTo>
                    <a:lnTo>
                      <a:pt x="0" y="58"/>
                    </a:lnTo>
                    <a:lnTo>
                      <a:pt x="5" y="86"/>
                    </a:lnTo>
                    <a:lnTo>
                      <a:pt x="12" y="88"/>
                    </a:lnTo>
                    <a:lnTo>
                      <a:pt x="16" y="77"/>
                    </a:lnTo>
                    <a:lnTo>
                      <a:pt x="21" y="77"/>
                    </a:lnTo>
                    <a:lnTo>
                      <a:pt x="25" y="61"/>
                    </a:lnTo>
                    <a:lnTo>
                      <a:pt x="22" y="44"/>
                    </a:lnTo>
                    <a:lnTo>
                      <a:pt x="23" y="36"/>
                    </a:lnTo>
                    <a:lnTo>
                      <a:pt x="21" y="25"/>
                    </a:lnTo>
                    <a:lnTo>
                      <a:pt x="24" y="17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8" name="Freeform 43"/>
              <p:cNvSpPr>
                <a:spLocks/>
              </p:cNvSpPr>
              <p:nvPr/>
            </p:nvSpPr>
            <p:spPr bwMode="gray">
              <a:xfrm>
                <a:off x="5925494" y="5453063"/>
                <a:ext cx="66675" cy="133350"/>
              </a:xfrm>
              <a:custGeom>
                <a:avLst/>
                <a:gdLst>
                  <a:gd name="T0" fmla="*/ 2147483647 w 15"/>
                  <a:gd name="T1" fmla="*/ 0 h 51"/>
                  <a:gd name="T2" fmla="*/ 2147483647 w 15"/>
                  <a:gd name="T3" fmla="*/ 2147483647 h 51"/>
                  <a:gd name="T4" fmla="*/ 2147483647 w 15"/>
                  <a:gd name="T5" fmla="*/ 2147483647 h 51"/>
                  <a:gd name="T6" fmla="*/ 0 w 15"/>
                  <a:gd name="T7" fmla="*/ 2147483647 h 51"/>
                  <a:gd name="T8" fmla="*/ 0 w 15"/>
                  <a:gd name="T9" fmla="*/ 2147483647 h 51"/>
                  <a:gd name="T10" fmla="*/ 2147483647 w 15"/>
                  <a:gd name="T11" fmla="*/ 2147483647 h 51"/>
                  <a:gd name="T12" fmla="*/ 2147483647 w 15"/>
                  <a:gd name="T13" fmla="*/ 2147483647 h 51"/>
                  <a:gd name="T14" fmla="*/ 2147483647 w 15"/>
                  <a:gd name="T15" fmla="*/ 2147483647 h 51"/>
                  <a:gd name="T16" fmla="*/ 2147483647 w 15"/>
                  <a:gd name="T17" fmla="*/ 2147483647 h 51"/>
                  <a:gd name="T18" fmla="*/ 2147483647 w 15"/>
                  <a:gd name="T19" fmla="*/ 2147483647 h 51"/>
                  <a:gd name="T20" fmla="*/ 2147483647 w 15"/>
                  <a:gd name="T21" fmla="*/ 0 h 5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5"/>
                  <a:gd name="T34" fmla="*/ 0 h 51"/>
                  <a:gd name="T35" fmla="*/ 15 w 15"/>
                  <a:gd name="T36" fmla="*/ 51 h 5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5" h="51">
                    <a:moveTo>
                      <a:pt x="13" y="0"/>
                    </a:moveTo>
                    <a:lnTo>
                      <a:pt x="8" y="2"/>
                    </a:lnTo>
                    <a:lnTo>
                      <a:pt x="8" y="9"/>
                    </a:lnTo>
                    <a:lnTo>
                      <a:pt x="0" y="21"/>
                    </a:lnTo>
                    <a:lnTo>
                      <a:pt x="0" y="36"/>
                    </a:lnTo>
                    <a:lnTo>
                      <a:pt x="6" y="51"/>
                    </a:lnTo>
                    <a:lnTo>
                      <a:pt x="9" y="51"/>
                    </a:lnTo>
                    <a:lnTo>
                      <a:pt x="12" y="48"/>
                    </a:lnTo>
                    <a:lnTo>
                      <a:pt x="12" y="32"/>
                    </a:lnTo>
                    <a:lnTo>
                      <a:pt x="15" y="28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49" name="Freeform 44"/>
              <p:cNvSpPr>
                <a:spLocks/>
              </p:cNvSpPr>
              <p:nvPr/>
            </p:nvSpPr>
            <p:spPr bwMode="gray">
              <a:xfrm>
                <a:off x="4715819" y="5329238"/>
                <a:ext cx="889000" cy="720725"/>
              </a:xfrm>
              <a:custGeom>
                <a:avLst/>
                <a:gdLst>
                  <a:gd name="T0" fmla="*/ 2147483647 w 184"/>
                  <a:gd name="T1" fmla="*/ 2147483647 h 268"/>
                  <a:gd name="T2" fmla="*/ 2147483647 w 184"/>
                  <a:gd name="T3" fmla="*/ 2147483647 h 268"/>
                  <a:gd name="T4" fmla="*/ 2147483647 w 184"/>
                  <a:gd name="T5" fmla="*/ 2147483647 h 268"/>
                  <a:gd name="T6" fmla="*/ 2147483647 w 184"/>
                  <a:gd name="T7" fmla="*/ 2147483647 h 268"/>
                  <a:gd name="T8" fmla="*/ 2147483647 w 184"/>
                  <a:gd name="T9" fmla="*/ 2147483647 h 268"/>
                  <a:gd name="T10" fmla="*/ 2147483647 w 184"/>
                  <a:gd name="T11" fmla="*/ 2147483647 h 268"/>
                  <a:gd name="T12" fmla="*/ 2147483647 w 184"/>
                  <a:gd name="T13" fmla="*/ 2147483647 h 268"/>
                  <a:gd name="T14" fmla="*/ 2147483647 w 184"/>
                  <a:gd name="T15" fmla="*/ 2147483647 h 268"/>
                  <a:gd name="T16" fmla="*/ 2147483647 w 184"/>
                  <a:gd name="T17" fmla="*/ 2147483647 h 268"/>
                  <a:gd name="T18" fmla="*/ 2147483647 w 184"/>
                  <a:gd name="T19" fmla="*/ 2147483647 h 268"/>
                  <a:gd name="T20" fmla="*/ 2147483647 w 184"/>
                  <a:gd name="T21" fmla="*/ 2147483647 h 268"/>
                  <a:gd name="T22" fmla="*/ 2147483647 w 184"/>
                  <a:gd name="T23" fmla="*/ 2147483647 h 268"/>
                  <a:gd name="T24" fmla="*/ 2147483647 w 184"/>
                  <a:gd name="T25" fmla="*/ 2147483647 h 268"/>
                  <a:gd name="T26" fmla="*/ 2147483647 w 184"/>
                  <a:gd name="T27" fmla="*/ 2147483647 h 268"/>
                  <a:gd name="T28" fmla="*/ 2147483647 w 184"/>
                  <a:gd name="T29" fmla="*/ 2147483647 h 268"/>
                  <a:gd name="T30" fmla="*/ 2147483647 w 184"/>
                  <a:gd name="T31" fmla="*/ 2147483647 h 268"/>
                  <a:gd name="T32" fmla="*/ 2147483647 w 184"/>
                  <a:gd name="T33" fmla="*/ 2147483647 h 268"/>
                  <a:gd name="T34" fmla="*/ 2147483647 w 184"/>
                  <a:gd name="T35" fmla="*/ 2147483647 h 268"/>
                  <a:gd name="T36" fmla="*/ 2147483647 w 184"/>
                  <a:gd name="T37" fmla="*/ 2147483647 h 268"/>
                  <a:gd name="T38" fmla="*/ 2147483647 w 184"/>
                  <a:gd name="T39" fmla="*/ 2147483647 h 268"/>
                  <a:gd name="T40" fmla="*/ 2147483647 w 184"/>
                  <a:gd name="T41" fmla="*/ 2147483647 h 268"/>
                  <a:gd name="T42" fmla="*/ 0 w 184"/>
                  <a:gd name="T43" fmla="*/ 2147483647 h 268"/>
                  <a:gd name="T44" fmla="*/ 2147483647 w 184"/>
                  <a:gd name="T45" fmla="*/ 2147483647 h 268"/>
                  <a:gd name="T46" fmla="*/ 2147483647 w 184"/>
                  <a:gd name="T47" fmla="*/ 2147483647 h 268"/>
                  <a:gd name="T48" fmla="*/ 2147483647 w 184"/>
                  <a:gd name="T49" fmla="*/ 2147483647 h 268"/>
                  <a:gd name="T50" fmla="*/ 2147483647 w 184"/>
                  <a:gd name="T51" fmla="*/ 2147483647 h 268"/>
                  <a:gd name="T52" fmla="*/ 2147483647 w 184"/>
                  <a:gd name="T53" fmla="*/ 2147483647 h 268"/>
                  <a:gd name="T54" fmla="*/ 2147483647 w 184"/>
                  <a:gd name="T55" fmla="*/ 2147483647 h 268"/>
                  <a:gd name="T56" fmla="*/ 2147483647 w 184"/>
                  <a:gd name="T57" fmla="*/ 2147483647 h 268"/>
                  <a:gd name="T58" fmla="*/ 2147483647 w 184"/>
                  <a:gd name="T59" fmla="*/ 2147483647 h 268"/>
                  <a:gd name="T60" fmla="*/ 2147483647 w 184"/>
                  <a:gd name="T61" fmla="*/ 2147483647 h 268"/>
                  <a:gd name="T62" fmla="*/ 2147483647 w 184"/>
                  <a:gd name="T63" fmla="*/ 2147483647 h 268"/>
                  <a:gd name="T64" fmla="*/ 2147483647 w 184"/>
                  <a:gd name="T65" fmla="*/ 2147483647 h 26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84"/>
                  <a:gd name="T100" fmla="*/ 0 h 268"/>
                  <a:gd name="T101" fmla="*/ 184 w 184"/>
                  <a:gd name="T102" fmla="*/ 268 h 26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84" h="268">
                    <a:moveTo>
                      <a:pt x="184" y="69"/>
                    </a:moveTo>
                    <a:lnTo>
                      <a:pt x="181" y="75"/>
                    </a:lnTo>
                    <a:lnTo>
                      <a:pt x="168" y="96"/>
                    </a:lnTo>
                    <a:lnTo>
                      <a:pt x="158" y="98"/>
                    </a:lnTo>
                    <a:lnTo>
                      <a:pt x="144" y="113"/>
                    </a:lnTo>
                    <a:lnTo>
                      <a:pt x="145" y="132"/>
                    </a:lnTo>
                    <a:lnTo>
                      <a:pt x="139" y="140"/>
                    </a:lnTo>
                    <a:lnTo>
                      <a:pt x="133" y="154"/>
                    </a:lnTo>
                    <a:lnTo>
                      <a:pt x="133" y="188"/>
                    </a:lnTo>
                    <a:lnTo>
                      <a:pt x="138" y="194"/>
                    </a:lnTo>
                    <a:lnTo>
                      <a:pt x="135" y="201"/>
                    </a:lnTo>
                    <a:lnTo>
                      <a:pt x="130" y="203"/>
                    </a:lnTo>
                    <a:lnTo>
                      <a:pt x="130" y="215"/>
                    </a:lnTo>
                    <a:lnTo>
                      <a:pt x="128" y="224"/>
                    </a:lnTo>
                    <a:lnTo>
                      <a:pt x="111" y="232"/>
                    </a:lnTo>
                    <a:lnTo>
                      <a:pt x="111" y="247"/>
                    </a:lnTo>
                    <a:lnTo>
                      <a:pt x="104" y="255"/>
                    </a:lnTo>
                    <a:lnTo>
                      <a:pt x="88" y="249"/>
                    </a:lnTo>
                    <a:lnTo>
                      <a:pt x="62" y="261"/>
                    </a:lnTo>
                    <a:lnTo>
                      <a:pt x="57" y="268"/>
                    </a:lnTo>
                    <a:lnTo>
                      <a:pt x="52" y="268"/>
                    </a:lnTo>
                    <a:lnTo>
                      <a:pt x="46" y="261"/>
                    </a:lnTo>
                    <a:lnTo>
                      <a:pt x="41" y="240"/>
                    </a:lnTo>
                    <a:lnTo>
                      <a:pt x="32" y="238"/>
                    </a:lnTo>
                    <a:lnTo>
                      <a:pt x="32" y="224"/>
                    </a:lnTo>
                    <a:lnTo>
                      <a:pt x="38" y="215"/>
                    </a:lnTo>
                    <a:lnTo>
                      <a:pt x="36" y="201"/>
                    </a:lnTo>
                    <a:lnTo>
                      <a:pt x="40" y="180"/>
                    </a:lnTo>
                    <a:lnTo>
                      <a:pt x="37" y="171"/>
                    </a:lnTo>
                    <a:lnTo>
                      <a:pt x="32" y="148"/>
                    </a:lnTo>
                    <a:lnTo>
                      <a:pt x="38" y="154"/>
                    </a:lnTo>
                    <a:lnTo>
                      <a:pt x="40" y="148"/>
                    </a:lnTo>
                    <a:lnTo>
                      <a:pt x="38" y="134"/>
                    </a:lnTo>
                    <a:lnTo>
                      <a:pt x="40" y="131"/>
                    </a:lnTo>
                    <a:lnTo>
                      <a:pt x="39" y="100"/>
                    </a:lnTo>
                    <a:lnTo>
                      <a:pt x="47" y="88"/>
                    </a:lnTo>
                    <a:lnTo>
                      <a:pt x="46" y="77"/>
                    </a:lnTo>
                    <a:lnTo>
                      <a:pt x="47" y="65"/>
                    </a:lnTo>
                    <a:lnTo>
                      <a:pt x="31" y="75"/>
                    </a:lnTo>
                    <a:lnTo>
                      <a:pt x="19" y="67"/>
                    </a:lnTo>
                    <a:lnTo>
                      <a:pt x="20" y="58"/>
                    </a:lnTo>
                    <a:lnTo>
                      <a:pt x="8" y="60"/>
                    </a:lnTo>
                    <a:lnTo>
                      <a:pt x="8" y="46"/>
                    </a:lnTo>
                    <a:lnTo>
                      <a:pt x="0" y="41"/>
                    </a:lnTo>
                    <a:lnTo>
                      <a:pt x="4" y="20"/>
                    </a:lnTo>
                    <a:lnTo>
                      <a:pt x="16" y="18"/>
                    </a:lnTo>
                    <a:lnTo>
                      <a:pt x="18" y="0"/>
                    </a:lnTo>
                    <a:lnTo>
                      <a:pt x="25" y="2"/>
                    </a:lnTo>
                    <a:lnTo>
                      <a:pt x="32" y="8"/>
                    </a:lnTo>
                    <a:lnTo>
                      <a:pt x="49" y="16"/>
                    </a:lnTo>
                    <a:lnTo>
                      <a:pt x="58" y="10"/>
                    </a:lnTo>
                    <a:lnTo>
                      <a:pt x="59" y="16"/>
                    </a:lnTo>
                    <a:lnTo>
                      <a:pt x="87" y="18"/>
                    </a:lnTo>
                    <a:lnTo>
                      <a:pt x="88" y="14"/>
                    </a:lnTo>
                    <a:lnTo>
                      <a:pt x="95" y="18"/>
                    </a:lnTo>
                    <a:lnTo>
                      <a:pt x="100" y="12"/>
                    </a:lnTo>
                    <a:lnTo>
                      <a:pt x="108" y="21"/>
                    </a:lnTo>
                    <a:lnTo>
                      <a:pt x="112" y="16"/>
                    </a:lnTo>
                    <a:lnTo>
                      <a:pt x="115" y="23"/>
                    </a:lnTo>
                    <a:lnTo>
                      <a:pt x="116" y="31"/>
                    </a:lnTo>
                    <a:lnTo>
                      <a:pt x="120" y="37"/>
                    </a:lnTo>
                    <a:lnTo>
                      <a:pt x="143" y="52"/>
                    </a:lnTo>
                    <a:lnTo>
                      <a:pt x="150" y="48"/>
                    </a:lnTo>
                    <a:lnTo>
                      <a:pt x="152" y="56"/>
                    </a:lnTo>
                    <a:lnTo>
                      <a:pt x="172" y="65"/>
                    </a:lnTo>
                    <a:lnTo>
                      <a:pt x="184" y="52"/>
                    </a:lnTo>
                    <a:lnTo>
                      <a:pt x="184" y="69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50" name="Freeform 45"/>
              <p:cNvSpPr>
                <a:spLocks/>
              </p:cNvSpPr>
              <p:nvPr/>
            </p:nvSpPr>
            <p:spPr bwMode="gray">
              <a:xfrm>
                <a:off x="4715819" y="5483225"/>
                <a:ext cx="230188" cy="495300"/>
              </a:xfrm>
              <a:custGeom>
                <a:avLst/>
                <a:gdLst>
                  <a:gd name="T0" fmla="*/ 2147483647 w 48"/>
                  <a:gd name="T1" fmla="*/ 2147483647 h 184"/>
                  <a:gd name="T2" fmla="*/ 2147483647 w 48"/>
                  <a:gd name="T3" fmla="*/ 2147483647 h 184"/>
                  <a:gd name="T4" fmla="*/ 2147483647 w 48"/>
                  <a:gd name="T5" fmla="*/ 2147483647 h 184"/>
                  <a:gd name="T6" fmla="*/ 2147483647 w 48"/>
                  <a:gd name="T7" fmla="*/ 2147483647 h 184"/>
                  <a:gd name="T8" fmla="*/ 2147483647 w 48"/>
                  <a:gd name="T9" fmla="*/ 2147483647 h 184"/>
                  <a:gd name="T10" fmla="*/ 2147483647 w 48"/>
                  <a:gd name="T11" fmla="*/ 2147483647 h 184"/>
                  <a:gd name="T12" fmla="*/ 2147483647 w 48"/>
                  <a:gd name="T13" fmla="*/ 2147483647 h 184"/>
                  <a:gd name="T14" fmla="*/ 2147483647 w 48"/>
                  <a:gd name="T15" fmla="*/ 2147483647 h 184"/>
                  <a:gd name="T16" fmla="*/ 2147483647 w 48"/>
                  <a:gd name="T17" fmla="*/ 2147483647 h 184"/>
                  <a:gd name="T18" fmla="*/ 0 w 48"/>
                  <a:gd name="T19" fmla="*/ 2147483647 h 184"/>
                  <a:gd name="T20" fmla="*/ 2147483647 w 48"/>
                  <a:gd name="T21" fmla="*/ 2147483647 h 184"/>
                  <a:gd name="T22" fmla="*/ 2147483647 w 48"/>
                  <a:gd name="T23" fmla="*/ 2147483647 h 184"/>
                  <a:gd name="T24" fmla="*/ 2147483647 w 48"/>
                  <a:gd name="T25" fmla="*/ 2147483647 h 184"/>
                  <a:gd name="T26" fmla="*/ 2147483647 w 48"/>
                  <a:gd name="T27" fmla="*/ 2147483647 h 184"/>
                  <a:gd name="T28" fmla="*/ 2147483647 w 48"/>
                  <a:gd name="T29" fmla="*/ 2147483647 h 184"/>
                  <a:gd name="T30" fmla="*/ 2147483647 w 48"/>
                  <a:gd name="T31" fmla="*/ 2147483647 h 184"/>
                  <a:gd name="T32" fmla="*/ 2147483647 w 48"/>
                  <a:gd name="T33" fmla="*/ 2147483647 h 184"/>
                  <a:gd name="T34" fmla="*/ 2147483647 w 48"/>
                  <a:gd name="T35" fmla="*/ 2147483647 h 184"/>
                  <a:gd name="T36" fmla="*/ 2147483647 w 48"/>
                  <a:gd name="T37" fmla="*/ 2147483647 h 184"/>
                  <a:gd name="T38" fmla="*/ 2147483647 w 48"/>
                  <a:gd name="T39" fmla="*/ 2147483647 h 184"/>
                  <a:gd name="T40" fmla="*/ 2147483647 w 48"/>
                  <a:gd name="T41" fmla="*/ 2147483647 h 184"/>
                  <a:gd name="T42" fmla="*/ 2147483647 w 48"/>
                  <a:gd name="T43" fmla="*/ 2147483647 h 184"/>
                  <a:gd name="T44" fmla="*/ 2147483647 w 48"/>
                  <a:gd name="T45" fmla="*/ 2147483647 h 184"/>
                  <a:gd name="T46" fmla="*/ 2147483647 w 48"/>
                  <a:gd name="T47" fmla="*/ 2147483647 h 184"/>
                  <a:gd name="T48" fmla="*/ 2147483647 w 48"/>
                  <a:gd name="T49" fmla="*/ 2147483647 h 184"/>
                  <a:gd name="T50" fmla="*/ 2147483647 w 48"/>
                  <a:gd name="T51" fmla="*/ 2147483647 h 184"/>
                  <a:gd name="T52" fmla="*/ 2147483647 w 48"/>
                  <a:gd name="T53" fmla="*/ 2147483647 h 184"/>
                  <a:gd name="T54" fmla="*/ 2147483647 w 48"/>
                  <a:gd name="T55" fmla="*/ 2147483647 h 184"/>
                  <a:gd name="T56" fmla="*/ 2147483647 w 48"/>
                  <a:gd name="T57" fmla="*/ 2147483647 h 184"/>
                  <a:gd name="T58" fmla="*/ 2147483647 w 48"/>
                  <a:gd name="T59" fmla="*/ 2147483647 h 184"/>
                  <a:gd name="T60" fmla="*/ 2147483647 w 48"/>
                  <a:gd name="T61" fmla="*/ 2147483647 h 184"/>
                  <a:gd name="T62" fmla="*/ 2147483647 w 48"/>
                  <a:gd name="T63" fmla="*/ 2147483647 h 184"/>
                  <a:gd name="T64" fmla="*/ 2147483647 w 48"/>
                  <a:gd name="T65" fmla="*/ 2147483647 h 184"/>
                  <a:gd name="T66" fmla="*/ 2147483647 w 48"/>
                  <a:gd name="T67" fmla="*/ 2147483647 h 184"/>
                  <a:gd name="T68" fmla="*/ 2147483647 w 48"/>
                  <a:gd name="T69" fmla="*/ 0 h 184"/>
                  <a:gd name="T70" fmla="*/ 2147483647 w 48"/>
                  <a:gd name="T71" fmla="*/ 2147483647 h 184"/>
                  <a:gd name="T72" fmla="*/ 2147483647 w 48"/>
                  <a:gd name="T73" fmla="*/ 2147483647 h 18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8"/>
                  <a:gd name="T112" fmla="*/ 0 h 184"/>
                  <a:gd name="T113" fmla="*/ 48 w 48"/>
                  <a:gd name="T114" fmla="*/ 184 h 18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8" h="184">
                    <a:moveTo>
                      <a:pt x="11" y="13"/>
                    </a:moveTo>
                    <a:lnTo>
                      <a:pt x="8" y="25"/>
                    </a:lnTo>
                    <a:lnTo>
                      <a:pt x="11" y="34"/>
                    </a:lnTo>
                    <a:lnTo>
                      <a:pt x="12" y="63"/>
                    </a:lnTo>
                    <a:lnTo>
                      <a:pt x="10" y="65"/>
                    </a:lnTo>
                    <a:lnTo>
                      <a:pt x="9" y="88"/>
                    </a:lnTo>
                    <a:lnTo>
                      <a:pt x="4" y="94"/>
                    </a:lnTo>
                    <a:lnTo>
                      <a:pt x="4" y="101"/>
                    </a:lnTo>
                    <a:lnTo>
                      <a:pt x="2" y="103"/>
                    </a:lnTo>
                    <a:lnTo>
                      <a:pt x="0" y="124"/>
                    </a:lnTo>
                    <a:lnTo>
                      <a:pt x="5" y="126"/>
                    </a:lnTo>
                    <a:lnTo>
                      <a:pt x="6" y="136"/>
                    </a:lnTo>
                    <a:lnTo>
                      <a:pt x="11" y="136"/>
                    </a:lnTo>
                    <a:lnTo>
                      <a:pt x="11" y="147"/>
                    </a:lnTo>
                    <a:lnTo>
                      <a:pt x="7" y="178"/>
                    </a:lnTo>
                    <a:lnTo>
                      <a:pt x="10" y="184"/>
                    </a:lnTo>
                    <a:lnTo>
                      <a:pt x="22" y="182"/>
                    </a:lnTo>
                    <a:lnTo>
                      <a:pt x="33" y="180"/>
                    </a:lnTo>
                    <a:lnTo>
                      <a:pt x="33" y="166"/>
                    </a:lnTo>
                    <a:lnTo>
                      <a:pt x="39" y="157"/>
                    </a:lnTo>
                    <a:lnTo>
                      <a:pt x="37" y="143"/>
                    </a:lnTo>
                    <a:lnTo>
                      <a:pt x="41" y="122"/>
                    </a:lnTo>
                    <a:lnTo>
                      <a:pt x="38" y="113"/>
                    </a:lnTo>
                    <a:lnTo>
                      <a:pt x="34" y="90"/>
                    </a:lnTo>
                    <a:lnTo>
                      <a:pt x="39" y="95"/>
                    </a:lnTo>
                    <a:lnTo>
                      <a:pt x="41" y="88"/>
                    </a:lnTo>
                    <a:lnTo>
                      <a:pt x="39" y="74"/>
                    </a:lnTo>
                    <a:lnTo>
                      <a:pt x="41" y="72"/>
                    </a:lnTo>
                    <a:lnTo>
                      <a:pt x="40" y="42"/>
                    </a:lnTo>
                    <a:lnTo>
                      <a:pt x="48" y="30"/>
                    </a:lnTo>
                    <a:lnTo>
                      <a:pt x="46" y="17"/>
                    </a:lnTo>
                    <a:lnTo>
                      <a:pt x="48" y="7"/>
                    </a:lnTo>
                    <a:lnTo>
                      <a:pt x="33" y="15"/>
                    </a:lnTo>
                    <a:lnTo>
                      <a:pt x="20" y="9"/>
                    </a:lnTo>
                    <a:lnTo>
                      <a:pt x="21" y="0"/>
                    </a:lnTo>
                    <a:lnTo>
                      <a:pt x="10" y="2"/>
                    </a:lnTo>
                    <a:lnTo>
                      <a:pt x="11" y="13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51" name="Freeform 46"/>
              <p:cNvSpPr>
                <a:spLocks/>
              </p:cNvSpPr>
              <p:nvPr/>
            </p:nvSpPr>
            <p:spPr bwMode="gray">
              <a:xfrm>
                <a:off x="4961882" y="4049713"/>
                <a:ext cx="534987" cy="654050"/>
              </a:xfrm>
              <a:custGeom>
                <a:avLst/>
                <a:gdLst>
                  <a:gd name="T0" fmla="*/ 2147483647 w 110"/>
                  <a:gd name="T1" fmla="*/ 2147483647 h 245"/>
                  <a:gd name="T2" fmla="*/ 2147483647 w 110"/>
                  <a:gd name="T3" fmla="*/ 2147483647 h 245"/>
                  <a:gd name="T4" fmla="*/ 2147483647 w 110"/>
                  <a:gd name="T5" fmla="*/ 2147483647 h 245"/>
                  <a:gd name="T6" fmla="*/ 2147483647 w 110"/>
                  <a:gd name="T7" fmla="*/ 2147483647 h 245"/>
                  <a:gd name="T8" fmla="*/ 2147483647 w 110"/>
                  <a:gd name="T9" fmla="*/ 2147483647 h 245"/>
                  <a:gd name="T10" fmla="*/ 2147483647 w 110"/>
                  <a:gd name="T11" fmla="*/ 2147483647 h 245"/>
                  <a:gd name="T12" fmla="*/ 2147483647 w 110"/>
                  <a:gd name="T13" fmla="*/ 2147483647 h 245"/>
                  <a:gd name="T14" fmla="*/ 2147483647 w 110"/>
                  <a:gd name="T15" fmla="*/ 2147483647 h 245"/>
                  <a:gd name="T16" fmla="*/ 2147483647 w 110"/>
                  <a:gd name="T17" fmla="*/ 2147483647 h 245"/>
                  <a:gd name="T18" fmla="*/ 2147483647 w 110"/>
                  <a:gd name="T19" fmla="*/ 2147483647 h 245"/>
                  <a:gd name="T20" fmla="*/ 2147483647 w 110"/>
                  <a:gd name="T21" fmla="*/ 2147483647 h 245"/>
                  <a:gd name="T22" fmla="*/ 2147483647 w 110"/>
                  <a:gd name="T23" fmla="*/ 2147483647 h 245"/>
                  <a:gd name="T24" fmla="*/ 2147483647 w 110"/>
                  <a:gd name="T25" fmla="*/ 2147483647 h 245"/>
                  <a:gd name="T26" fmla="*/ 2147483647 w 110"/>
                  <a:gd name="T27" fmla="*/ 2147483647 h 245"/>
                  <a:gd name="T28" fmla="*/ 2147483647 w 110"/>
                  <a:gd name="T29" fmla="*/ 0 h 245"/>
                  <a:gd name="T30" fmla="*/ 2147483647 w 110"/>
                  <a:gd name="T31" fmla="*/ 2147483647 h 245"/>
                  <a:gd name="T32" fmla="*/ 2147483647 w 110"/>
                  <a:gd name="T33" fmla="*/ 2147483647 h 245"/>
                  <a:gd name="T34" fmla="*/ 2147483647 w 110"/>
                  <a:gd name="T35" fmla="*/ 2147483647 h 245"/>
                  <a:gd name="T36" fmla="*/ 2147483647 w 110"/>
                  <a:gd name="T37" fmla="*/ 2147483647 h 245"/>
                  <a:gd name="T38" fmla="*/ 2147483647 w 110"/>
                  <a:gd name="T39" fmla="*/ 2147483647 h 245"/>
                  <a:gd name="T40" fmla="*/ 2147483647 w 110"/>
                  <a:gd name="T41" fmla="*/ 2147483647 h 245"/>
                  <a:gd name="T42" fmla="*/ 2147483647 w 110"/>
                  <a:gd name="T43" fmla="*/ 2147483647 h 245"/>
                  <a:gd name="T44" fmla="*/ 2147483647 w 110"/>
                  <a:gd name="T45" fmla="*/ 2147483647 h 245"/>
                  <a:gd name="T46" fmla="*/ 2147483647 w 110"/>
                  <a:gd name="T47" fmla="*/ 2147483647 h 245"/>
                  <a:gd name="T48" fmla="*/ 2147483647 w 110"/>
                  <a:gd name="T49" fmla="*/ 2147483647 h 245"/>
                  <a:gd name="T50" fmla="*/ 2147483647 w 110"/>
                  <a:gd name="T51" fmla="*/ 2147483647 h 245"/>
                  <a:gd name="T52" fmla="*/ 2147483647 w 110"/>
                  <a:gd name="T53" fmla="*/ 2147483647 h 245"/>
                  <a:gd name="T54" fmla="*/ 2147483647 w 110"/>
                  <a:gd name="T55" fmla="*/ 2147483647 h 245"/>
                  <a:gd name="T56" fmla="*/ 2147483647 w 110"/>
                  <a:gd name="T57" fmla="*/ 2147483647 h 245"/>
                  <a:gd name="T58" fmla="*/ 0 w 110"/>
                  <a:gd name="T59" fmla="*/ 2147483647 h 245"/>
                  <a:gd name="T60" fmla="*/ 2147483647 w 110"/>
                  <a:gd name="T61" fmla="*/ 2147483647 h 245"/>
                  <a:gd name="T62" fmla="*/ 2147483647 w 110"/>
                  <a:gd name="T63" fmla="*/ 2147483647 h 245"/>
                  <a:gd name="T64" fmla="*/ 2147483647 w 110"/>
                  <a:gd name="T65" fmla="*/ 2147483647 h 245"/>
                  <a:gd name="T66" fmla="*/ 2147483647 w 110"/>
                  <a:gd name="T67" fmla="*/ 2147483647 h 24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0"/>
                  <a:gd name="T103" fmla="*/ 0 h 245"/>
                  <a:gd name="T104" fmla="*/ 110 w 110"/>
                  <a:gd name="T105" fmla="*/ 245 h 24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0" h="245">
                    <a:moveTo>
                      <a:pt x="47" y="172"/>
                    </a:moveTo>
                    <a:lnTo>
                      <a:pt x="49" y="172"/>
                    </a:lnTo>
                    <a:lnTo>
                      <a:pt x="49" y="169"/>
                    </a:lnTo>
                    <a:lnTo>
                      <a:pt x="45" y="163"/>
                    </a:lnTo>
                    <a:lnTo>
                      <a:pt x="45" y="155"/>
                    </a:lnTo>
                    <a:lnTo>
                      <a:pt x="48" y="151"/>
                    </a:lnTo>
                    <a:lnTo>
                      <a:pt x="45" y="147"/>
                    </a:lnTo>
                    <a:lnTo>
                      <a:pt x="47" y="142"/>
                    </a:lnTo>
                    <a:lnTo>
                      <a:pt x="46" y="134"/>
                    </a:lnTo>
                    <a:lnTo>
                      <a:pt x="43" y="144"/>
                    </a:lnTo>
                    <a:lnTo>
                      <a:pt x="41" y="134"/>
                    </a:lnTo>
                    <a:lnTo>
                      <a:pt x="44" y="123"/>
                    </a:lnTo>
                    <a:lnTo>
                      <a:pt x="40" y="121"/>
                    </a:lnTo>
                    <a:lnTo>
                      <a:pt x="39" y="117"/>
                    </a:lnTo>
                    <a:lnTo>
                      <a:pt x="45" y="109"/>
                    </a:lnTo>
                    <a:lnTo>
                      <a:pt x="43" y="107"/>
                    </a:lnTo>
                    <a:lnTo>
                      <a:pt x="41" y="111"/>
                    </a:lnTo>
                    <a:lnTo>
                      <a:pt x="40" y="103"/>
                    </a:lnTo>
                    <a:lnTo>
                      <a:pt x="43" y="90"/>
                    </a:lnTo>
                    <a:lnTo>
                      <a:pt x="40" y="86"/>
                    </a:lnTo>
                    <a:lnTo>
                      <a:pt x="45" y="67"/>
                    </a:lnTo>
                    <a:lnTo>
                      <a:pt x="41" y="57"/>
                    </a:lnTo>
                    <a:lnTo>
                      <a:pt x="39" y="67"/>
                    </a:lnTo>
                    <a:lnTo>
                      <a:pt x="35" y="67"/>
                    </a:lnTo>
                    <a:lnTo>
                      <a:pt x="30" y="56"/>
                    </a:lnTo>
                    <a:lnTo>
                      <a:pt x="31" y="38"/>
                    </a:lnTo>
                    <a:lnTo>
                      <a:pt x="40" y="25"/>
                    </a:lnTo>
                    <a:lnTo>
                      <a:pt x="51" y="15"/>
                    </a:lnTo>
                    <a:lnTo>
                      <a:pt x="49" y="4"/>
                    </a:lnTo>
                    <a:lnTo>
                      <a:pt x="55" y="0"/>
                    </a:lnTo>
                    <a:lnTo>
                      <a:pt x="56" y="8"/>
                    </a:lnTo>
                    <a:lnTo>
                      <a:pt x="61" y="12"/>
                    </a:lnTo>
                    <a:lnTo>
                      <a:pt x="61" y="27"/>
                    </a:lnTo>
                    <a:lnTo>
                      <a:pt x="65" y="33"/>
                    </a:lnTo>
                    <a:lnTo>
                      <a:pt x="72" y="33"/>
                    </a:lnTo>
                    <a:lnTo>
                      <a:pt x="82" y="59"/>
                    </a:lnTo>
                    <a:lnTo>
                      <a:pt x="82" y="71"/>
                    </a:lnTo>
                    <a:lnTo>
                      <a:pt x="86" y="77"/>
                    </a:lnTo>
                    <a:lnTo>
                      <a:pt x="91" y="113"/>
                    </a:lnTo>
                    <a:lnTo>
                      <a:pt x="101" y="113"/>
                    </a:lnTo>
                    <a:lnTo>
                      <a:pt x="110" y="136"/>
                    </a:lnTo>
                    <a:lnTo>
                      <a:pt x="107" y="163"/>
                    </a:lnTo>
                    <a:lnTo>
                      <a:pt x="95" y="176"/>
                    </a:lnTo>
                    <a:lnTo>
                      <a:pt x="102" y="182"/>
                    </a:lnTo>
                    <a:lnTo>
                      <a:pt x="107" y="180"/>
                    </a:lnTo>
                    <a:lnTo>
                      <a:pt x="105" y="192"/>
                    </a:lnTo>
                    <a:lnTo>
                      <a:pt x="97" y="205"/>
                    </a:lnTo>
                    <a:lnTo>
                      <a:pt x="97" y="214"/>
                    </a:lnTo>
                    <a:lnTo>
                      <a:pt x="91" y="218"/>
                    </a:lnTo>
                    <a:lnTo>
                      <a:pt x="82" y="216"/>
                    </a:lnTo>
                    <a:lnTo>
                      <a:pt x="71" y="220"/>
                    </a:lnTo>
                    <a:lnTo>
                      <a:pt x="66" y="218"/>
                    </a:lnTo>
                    <a:lnTo>
                      <a:pt x="66" y="230"/>
                    </a:lnTo>
                    <a:lnTo>
                      <a:pt x="66" y="232"/>
                    </a:lnTo>
                    <a:lnTo>
                      <a:pt x="39" y="237"/>
                    </a:lnTo>
                    <a:lnTo>
                      <a:pt x="34" y="239"/>
                    </a:lnTo>
                    <a:lnTo>
                      <a:pt x="26" y="236"/>
                    </a:lnTo>
                    <a:lnTo>
                      <a:pt x="14" y="239"/>
                    </a:lnTo>
                    <a:lnTo>
                      <a:pt x="13" y="245"/>
                    </a:lnTo>
                    <a:lnTo>
                      <a:pt x="0" y="241"/>
                    </a:lnTo>
                    <a:lnTo>
                      <a:pt x="10" y="230"/>
                    </a:lnTo>
                    <a:lnTo>
                      <a:pt x="13" y="218"/>
                    </a:lnTo>
                    <a:lnTo>
                      <a:pt x="15" y="220"/>
                    </a:lnTo>
                    <a:lnTo>
                      <a:pt x="19" y="218"/>
                    </a:lnTo>
                    <a:lnTo>
                      <a:pt x="19" y="203"/>
                    </a:lnTo>
                    <a:lnTo>
                      <a:pt x="30" y="190"/>
                    </a:lnTo>
                    <a:lnTo>
                      <a:pt x="41" y="190"/>
                    </a:lnTo>
                    <a:lnTo>
                      <a:pt x="47" y="176"/>
                    </a:lnTo>
                    <a:lnTo>
                      <a:pt x="47" y="172"/>
                    </a:lnTo>
                    <a:close/>
                  </a:path>
                </a:pathLst>
              </a:custGeom>
              <a:solidFill>
                <a:schemeClr val="tx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256500" tIns="35100" rIns="67500" bIns="35100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050" dirty="0">
                  <a:solidFill>
                    <a:srgbClr val="00965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52" name="Freeform 47"/>
              <p:cNvSpPr>
                <a:spLocks/>
              </p:cNvSpPr>
              <p:nvPr/>
            </p:nvSpPr>
            <p:spPr bwMode="gray">
              <a:xfrm>
                <a:off x="4992044" y="4329113"/>
                <a:ext cx="203200" cy="207962"/>
              </a:xfrm>
              <a:custGeom>
                <a:avLst/>
                <a:gdLst>
                  <a:gd name="T0" fmla="*/ 2147483647 w 43"/>
                  <a:gd name="T1" fmla="*/ 2147483647 h 77"/>
                  <a:gd name="T2" fmla="*/ 2147483647 w 43"/>
                  <a:gd name="T3" fmla="*/ 2147483647 h 77"/>
                  <a:gd name="T4" fmla="*/ 2147483647 w 43"/>
                  <a:gd name="T5" fmla="*/ 2147483647 h 77"/>
                  <a:gd name="T6" fmla="*/ 2147483647 w 43"/>
                  <a:gd name="T7" fmla="*/ 2147483647 h 77"/>
                  <a:gd name="T8" fmla="*/ 2147483647 w 43"/>
                  <a:gd name="T9" fmla="*/ 2147483647 h 77"/>
                  <a:gd name="T10" fmla="*/ 2147483647 w 43"/>
                  <a:gd name="T11" fmla="*/ 2147483647 h 77"/>
                  <a:gd name="T12" fmla="*/ 2147483647 w 43"/>
                  <a:gd name="T13" fmla="*/ 2147483647 h 77"/>
                  <a:gd name="T14" fmla="*/ 2147483647 w 43"/>
                  <a:gd name="T15" fmla="*/ 2147483647 h 77"/>
                  <a:gd name="T16" fmla="*/ 2147483647 w 43"/>
                  <a:gd name="T17" fmla="*/ 2147483647 h 77"/>
                  <a:gd name="T18" fmla="*/ 2147483647 w 43"/>
                  <a:gd name="T19" fmla="*/ 2147483647 h 77"/>
                  <a:gd name="T20" fmla="*/ 2147483647 w 43"/>
                  <a:gd name="T21" fmla="*/ 2147483647 h 77"/>
                  <a:gd name="T22" fmla="*/ 2147483647 w 43"/>
                  <a:gd name="T23" fmla="*/ 2147483647 h 77"/>
                  <a:gd name="T24" fmla="*/ 2147483647 w 43"/>
                  <a:gd name="T25" fmla="*/ 2147483647 h 77"/>
                  <a:gd name="T26" fmla="*/ 2147483647 w 43"/>
                  <a:gd name="T27" fmla="*/ 2147483647 h 77"/>
                  <a:gd name="T28" fmla="*/ 2147483647 w 43"/>
                  <a:gd name="T29" fmla="*/ 2147483647 h 77"/>
                  <a:gd name="T30" fmla="*/ 2147483647 w 43"/>
                  <a:gd name="T31" fmla="*/ 2147483647 h 77"/>
                  <a:gd name="T32" fmla="*/ 2147483647 w 43"/>
                  <a:gd name="T33" fmla="*/ 2147483647 h 77"/>
                  <a:gd name="T34" fmla="*/ 2147483647 w 43"/>
                  <a:gd name="T35" fmla="*/ 0 h 77"/>
                  <a:gd name="T36" fmla="*/ 2147483647 w 43"/>
                  <a:gd name="T37" fmla="*/ 2147483647 h 77"/>
                  <a:gd name="T38" fmla="*/ 2147483647 w 43"/>
                  <a:gd name="T39" fmla="*/ 0 h 77"/>
                  <a:gd name="T40" fmla="*/ 2147483647 w 43"/>
                  <a:gd name="T41" fmla="*/ 2147483647 h 77"/>
                  <a:gd name="T42" fmla="*/ 2147483647 w 43"/>
                  <a:gd name="T43" fmla="*/ 2147483647 h 77"/>
                  <a:gd name="T44" fmla="*/ 2147483647 w 43"/>
                  <a:gd name="T45" fmla="*/ 2147483647 h 77"/>
                  <a:gd name="T46" fmla="*/ 2147483647 w 43"/>
                  <a:gd name="T47" fmla="*/ 2147483647 h 77"/>
                  <a:gd name="T48" fmla="*/ 2147483647 w 43"/>
                  <a:gd name="T49" fmla="*/ 2147483647 h 77"/>
                  <a:gd name="T50" fmla="*/ 2147483647 w 43"/>
                  <a:gd name="T51" fmla="*/ 2147483647 h 77"/>
                  <a:gd name="T52" fmla="*/ 2147483647 w 43"/>
                  <a:gd name="T53" fmla="*/ 2147483647 h 77"/>
                  <a:gd name="T54" fmla="*/ 2147483647 w 43"/>
                  <a:gd name="T55" fmla="*/ 2147483647 h 77"/>
                  <a:gd name="T56" fmla="*/ 2147483647 w 43"/>
                  <a:gd name="T57" fmla="*/ 2147483647 h 77"/>
                  <a:gd name="T58" fmla="*/ 2147483647 w 43"/>
                  <a:gd name="T59" fmla="*/ 2147483647 h 77"/>
                  <a:gd name="T60" fmla="*/ 2147483647 w 43"/>
                  <a:gd name="T61" fmla="*/ 2147483647 h 77"/>
                  <a:gd name="T62" fmla="*/ 0 w 43"/>
                  <a:gd name="T63" fmla="*/ 2147483647 h 77"/>
                  <a:gd name="T64" fmla="*/ 2147483647 w 43"/>
                  <a:gd name="T65" fmla="*/ 2147483647 h 77"/>
                  <a:gd name="T66" fmla="*/ 2147483647 w 43"/>
                  <a:gd name="T67" fmla="*/ 2147483647 h 77"/>
                  <a:gd name="T68" fmla="*/ 2147483647 w 43"/>
                  <a:gd name="T69" fmla="*/ 2147483647 h 77"/>
                  <a:gd name="T70" fmla="*/ 2147483647 w 43"/>
                  <a:gd name="T71" fmla="*/ 2147483647 h 77"/>
                  <a:gd name="T72" fmla="*/ 2147483647 w 43"/>
                  <a:gd name="T73" fmla="*/ 2147483647 h 77"/>
                  <a:gd name="T74" fmla="*/ 2147483647 w 43"/>
                  <a:gd name="T75" fmla="*/ 2147483647 h 7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3"/>
                  <a:gd name="T115" fmla="*/ 0 h 77"/>
                  <a:gd name="T116" fmla="*/ 43 w 43"/>
                  <a:gd name="T117" fmla="*/ 77 h 7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3" h="77">
                    <a:moveTo>
                      <a:pt x="41" y="69"/>
                    </a:moveTo>
                    <a:lnTo>
                      <a:pt x="43" y="67"/>
                    </a:lnTo>
                    <a:lnTo>
                      <a:pt x="43" y="64"/>
                    </a:lnTo>
                    <a:lnTo>
                      <a:pt x="40" y="58"/>
                    </a:lnTo>
                    <a:lnTo>
                      <a:pt x="39" y="52"/>
                    </a:lnTo>
                    <a:lnTo>
                      <a:pt x="42" y="50"/>
                    </a:lnTo>
                    <a:lnTo>
                      <a:pt x="40" y="44"/>
                    </a:lnTo>
                    <a:lnTo>
                      <a:pt x="41" y="39"/>
                    </a:lnTo>
                    <a:lnTo>
                      <a:pt x="41" y="31"/>
                    </a:lnTo>
                    <a:lnTo>
                      <a:pt x="37" y="41"/>
                    </a:lnTo>
                    <a:lnTo>
                      <a:pt x="36" y="31"/>
                    </a:lnTo>
                    <a:lnTo>
                      <a:pt x="38" y="21"/>
                    </a:lnTo>
                    <a:lnTo>
                      <a:pt x="35" y="18"/>
                    </a:lnTo>
                    <a:lnTo>
                      <a:pt x="33" y="14"/>
                    </a:lnTo>
                    <a:lnTo>
                      <a:pt x="39" y="8"/>
                    </a:lnTo>
                    <a:lnTo>
                      <a:pt x="37" y="4"/>
                    </a:lnTo>
                    <a:lnTo>
                      <a:pt x="35" y="8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23" y="0"/>
                    </a:lnTo>
                    <a:lnTo>
                      <a:pt x="12" y="4"/>
                    </a:lnTo>
                    <a:lnTo>
                      <a:pt x="11" y="18"/>
                    </a:lnTo>
                    <a:lnTo>
                      <a:pt x="14" y="18"/>
                    </a:lnTo>
                    <a:lnTo>
                      <a:pt x="21" y="10"/>
                    </a:lnTo>
                    <a:lnTo>
                      <a:pt x="23" y="14"/>
                    </a:lnTo>
                    <a:lnTo>
                      <a:pt x="21" y="27"/>
                    </a:lnTo>
                    <a:lnTo>
                      <a:pt x="18" y="33"/>
                    </a:lnTo>
                    <a:lnTo>
                      <a:pt x="18" y="41"/>
                    </a:lnTo>
                    <a:lnTo>
                      <a:pt x="20" y="48"/>
                    </a:lnTo>
                    <a:lnTo>
                      <a:pt x="15" y="56"/>
                    </a:lnTo>
                    <a:lnTo>
                      <a:pt x="6" y="54"/>
                    </a:lnTo>
                    <a:lnTo>
                      <a:pt x="0" y="67"/>
                    </a:lnTo>
                    <a:lnTo>
                      <a:pt x="9" y="73"/>
                    </a:lnTo>
                    <a:lnTo>
                      <a:pt x="21" y="73"/>
                    </a:lnTo>
                    <a:lnTo>
                      <a:pt x="23" y="73"/>
                    </a:lnTo>
                    <a:lnTo>
                      <a:pt x="31" y="77"/>
                    </a:lnTo>
                    <a:lnTo>
                      <a:pt x="31" y="73"/>
                    </a:lnTo>
                    <a:lnTo>
                      <a:pt x="41" y="69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256500" tIns="35100" rIns="67500" bIns="35100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0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53" name="Freeform 48"/>
              <p:cNvSpPr>
                <a:spLocks/>
              </p:cNvSpPr>
              <p:nvPr/>
            </p:nvSpPr>
            <p:spPr bwMode="gray">
              <a:xfrm>
                <a:off x="4941244" y="3640138"/>
                <a:ext cx="296863" cy="525462"/>
              </a:xfrm>
              <a:custGeom>
                <a:avLst/>
                <a:gdLst>
                  <a:gd name="T0" fmla="*/ 2147483647 w 61"/>
                  <a:gd name="T1" fmla="*/ 2147483647 h 195"/>
                  <a:gd name="T2" fmla="*/ 2147483647 w 61"/>
                  <a:gd name="T3" fmla="*/ 2147483647 h 195"/>
                  <a:gd name="T4" fmla="*/ 2147483647 w 61"/>
                  <a:gd name="T5" fmla="*/ 2147483647 h 195"/>
                  <a:gd name="T6" fmla="*/ 2147483647 w 61"/>
                  <a:gd name="T7" fmla="*/ 2147483647 h 195"/>
                  <a:gd name="T8" fmla="*/ 2147483647 w 61"/>
                  <a:gd name="T9" fmla="*/ 2147483647 h 195"/>
                  <a:gd name="T10" fmla="*/ 2147483647 w 61"/>
                  <a:gd name="T11" fmla="*/ 2147483647 h 195"/>
                  <a:gd name="T12" fmla="*/ 2147483647 w 61"/>
                  <a:gd name="T13" fmla="*/ 2147483647 h 195"/>
                  <a:gd name="T14" fmla="*/ 2147483647 w 61"/>
                  <a:gd name="T15" fmla="*/ 2147483647 h 195"/>
                  <a:gd name="T16" fmla="*/ 2147483647 w 61"/>
                  <a:gd name="T17" fmla="*/ 2147483647 h 195"/>
                  <a:gd name="T18" fmla="*/ 2147483647 w 61"/>
                  <a:gd name="T19" fmla="*/ 2147483647 h 195"/>
                  <a:gd name="T20" fmla="*/ 2147483647 w 61"/>
                  <a:gd name="T21" fmla="*/ 2147483647 h 195"/>
                  <a:gd name="T22" fmla="*/ 2147483647 w 61"/>
                  <a:gd name="T23" fmla="*/ 2147483647 h 195"/>
                  <a:gd name="T24" fmla="*/ 2147483647 w 61"/>
                  <a:gd name="T25" fmla="*/ 2147483647 h 195"/>
                  <a:gd name="T26" fmla="*/ 2147483647 w 61"/>
                  <a:gd name="T27" fmla="*/ 2147483647 h 195"/>
                  <a:gd name="T28" fmla="*/ 2147483647 w 61"/>
                  <a:gd name="T29" fmla="*/ 2147483647 h 195"/>
                  <a:gd name="T30" fmla="*/ 2147483647 w 61"/>
                  <a:gd name="T31" fmla="*/ 2147483647 h 195"/>
                  <a:gd name="T32" fmla="*/ 2147483647 w 61"/>
                  <a:gd name="T33" fmla="*/ 2147483647 h 195"/>
                  <a:gd name="T34" fmla="*/ 2147483647 w 61"/>
                  <a:gd name="T35" fmla="*/ 2147483647 h 195"/>
                  <a:gd name="T36" fmla="*/ 2147483647 w 61"/>
                  <a:gd name="T37" fmla="*/ 2147483647 h 195"/>
                  <a:gd name="T38" fmla="*/ 2147483647 w 61"/>
                  <a:gd name="T39" fmla="*/ 2147483647 h 195"/>
                  <a:gd name="T40" fmla="*/ 2147483647 w 61"/>
                  <a:gd name="T41" fmla="*/ 2147483647 h 195"/>
                  <a:gd name="T42" fmla="*/ 2147483647 w 61"/>
                  <a:gd name="T43" fmla="*/ 2147483647 h 195"/>
                  <a:gd name="T44" fmla="*/ 0 w 61"/>
                  <a:gd name="T45" fmla="*/ 2147483647 h 195"/>
                  <a:gd name="T46" fmla="*/ 0 w 61"/>
                  <a:gd name="T47" fmla="*/ 2147483647 h 195"/>
                  <a:gd name="T48" fmla="*/ 2147483647 w 61"/>
                  <a:gd name="T49" fmla="*/ 2147483647 h 195"/>
                  <a:gd name="T50" fmla="*/ 2147483647 w 61"/>
                  <a:gd name="T51" fmla="*/ 2147483647 h 195"/>
                  <a:gd name="T52" fmla="*/ 2147483647 w 61"/>
                  <a:gd name="T53" fmla="*/ 2147483647 h 195"/>
                  <a:gd name="T54" fmla="*/ 2147483647 w 61"/>
                  <a:gd name="T55" fmla="*/ 2147483647 h 195"/>
                  <a:gd name="T56" fmla="*/ 2147483647 w 61"/>
                  <a:gd name="T57" fmla="*/ 2147483647 h 195"/>
                  <a:gd name="T58" fmla="*/ 2147483647 w 61"/>
                  <a:gd name="T59" fmla="*/ 2147483647 h 195"/>
                  <a:gd name="T60" fmla="*/ 2147483647 w 61"/>
                  <a:gd name="T61" fmla="*/ 2147483647 h 195"/>
                  <a:gd name="T62" fmla="*/ 2147483647 w 61"/>
                  <a:gd name="T63" fmla="*/ 2147483647 h 195"/>
                  <a:gd name="T64" fmla="*/ 2147483647 w 61"/>
                  <a:gd name="T65" fmla="*/ 0 h 195"/>
                  <a:gd name="T66" fmla="*/ 2147483647 w 61"/>
                  <a:gd name="T67" fmla="*/ 2147483647 h 195"/>
                  <a:gd name="T68" fmla="*/ 2147483647 w 61"/>
                  <a:gd name="T69" fmla="*/ 2147483647 h 195"/>
                  <a:gd name="T70" fmla="*/ 2147483647 w 61"/>
                  <a:gd name="T71" fmla="*/ 2147483647 h 195"/>
                  <a:gd name="T72" fmla="*/ 2147483647 w 61"/>
                  <a:gd name="T73" fmla="*/ 2147483647 h 195"/>
                  <a:gd name="T74" fmla="*/ 2147483647 w 61"/>
                  <a:gd name="T75" fmla="*/ 2147483647 h 195"/>
                  <a:gd name="T76" fmla="*/ 2147483647 w 61"/>
                  <a:gd name="T77" fmla="*/ 2147483647 h 195"/>
                  <a:gd name="T78" fmla="*/ 2147483647 w 61"/>
                  <a:gd name="T79" fmla="*/ 2147483647 h 195"/>
                  <a:gd name="T80" fmla="*/ 2147483647 w 61"/>
                  <a:gd name="T81" fmla="*/ 2147483647 h 195"/>
                  <a:gd name="T82" fmla="*/ 2147483647 w 61"/>
                  <a:gd name="T83" fmla="*/ 2147483647 h 195"/>
                  <a:gd name="T84" fmla="*/ 2147483647 w 61"/>
                  <a:gd name="T85" fmla="*/ 2147483647 h 195"/>
                  <a:gd name="T86" fmla="*/ 2147483647 w 61"/>
                  <a:gd name="T87" fmla="*/ 2147483647 h 195"/>
                  <a:gd name="T88" fmla="*/ 2147483647 w 61"/>
                  <a:gd name="T89" fmla="*/ 2147483647 h 195"/>
                  <a:gd name="T90" fmla="*/ 2147483647 w 61"/>
                  <a:gd name="T91" fmla="*/ 2147483647 h 195"/>
                  <a:gd name="T92" fmla="*/ 2147483647 w 61"/>
                  <a:gd name="T93" fmla="*/ 2147483647 h 195"/>
                  <a:gd name="T94" fmla="*/ 2147483647 w 61"/>
                  <a:gd name="T95" fmla="*/ 2147483647 h 195"/>
                  <a:gd name="T96" fmla="*/ 2147483647 w 61"/>
                  <a:gd name="T97" fmla="*/ 2147483647 h 195"/>
                  <a:gd name="T98" fmla="*/ 2147483647 w 61"/>
                  <a:gd name="T99" fmla="*/ 2147483647 h 195"/>
                  <a:gd name="T100" fmla="*/ 2147483647 w 61"/>
                  <a:gd name="T101" fmla="*/ 2147483647 h 19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1"/>
                  <a:gd name="T154" fmla="*/ 0 h 195"/>
                  <a:gd name="T155" fmla="*/ 61 w 61"/>
                  <a:gd name="T156" fmla="*/ 195 h 195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1" h="195">
                    <a:moveTo>
                      <a:pt x="54" y="161"/>
                    </a:moveTo>
                    <a:lnTo>
                      <a:pt x="57" y="172"/>
                    </a:lnTo>
                    <a:lnTo>
                      <a:pt x="45" y="182"/>
                    </a:lnTo>
                    <a:lnTo>
                      <a:pt x="31" y="186"/>
                    </a:lnTo>
                    <a:lnTo>
                      <a:pt x="24" y="186"/>
                    </a:lnTo>
                    <a:lnTo>
                      <a:pt x="26" y="193"/>
                    </a:lnTo>
                    <a:lnTo>
                      <a:pt x="16" y="195"/>
                    </a:lnTo>
                    <a:lnTo>
                      <a:pt x="11" y="174"/>
                    </a:lnTo>
                    <a:lnTo>
                      <a:pt x="18" y="170"/>
                    </a:lnTo>
                    <a:lnTo>
                      <a:pt x="22" y="151"/>
                    </a:lnTo>
                    <a:lnTo>
                      <a:pt x="17" y="143"/>
                    </a:lnTo>
                    <a:lnTo>
                      <a:pt x="18" y="132"/>
                    </a:lnTo>
                    <a:lnTo>
                      <a:pt x="12" y="140"/>
                    </a:lnTo>
                    <a:lnTo>
                      <a:pt x="11" y="155"/>
                    </a:lnTo>
                    <a:lnTo>
                      <a:pt x="9" y="163"/>
                    </a:lnTo>
                    <a:lnTo>
                      <a:pt x="4" y="155"/>
                    </a:lnTo>
                    <a:lnTo>
                      <a:pt x="7" y="136"/>
                    </a:lnTo>
                    <a:lnTo>
                      <a:pt x="9" y="134"/>
                    </a:lnTo>
                    <a:lnTo>
                      <a:pt x="8" y="126"/>
                    </a:lnTo>
                    <a:lnTo>
                      <a:pt x="12" y="118"/>
                    </a:lnTo>
                    <a:lnTo>
                      <a:pt x="12" y="107"/>
                    </a:lnTo>
                    <a:lnTo>
                      <a:pt x="8" y="111"/>
                    </a:lnTo>
                    <a:lnTo>
                      <a:pt x="0" y="101"/>
                    </a:lnTo>
                    <a:lnTo>
                      <a:pt x="0" y="96"/>
                    </a:lnTo>
                    <a:lnTo>
                      <a:pt x="6" y="86"/>
                    </a:lnTo>
                    <a:lnTo>
                      <a:pt x="10" y="78"/>
                    </a:lnTo>
                    <a:lnTo>
                      <a:pt x="10" y="71"/>
                    </a:lnTo>
                    <a:lnTo>
                      <a:pt x="6" y="67"/>
                    </a:lnTo>
                    <a:lnTo>
                      <a:pt x="5" y="42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8" y="32"/>
                    </a:lnTo>
                    <a:lnTo>
                      <a:pt x="9" y="0"/>
                    </a:lnTo>
                    <a:lnTo>
                      <a:pt x="21" y="2"/>
                    </a:lnTo>
                    <a:lnTo>
                      <a:pt x="28" y="7"/>
                    </a:lnTo>
                    <a:lnTo>
                      <a:pt x="34" y="4"/>
                    </a:lnTo>
                    <a:lnTo>
                      <a:pt x="40" y="4"/>
                    </a:lnTo>
                    <a:lnTo>
                      <a:pt x="41" y="21"/>
                    </a:lnTo>
                    <a:lnTo>
                      <a:pt x="27" y="42"/>
                    </a:lnTo>
                    <a:lnTo>
                      <a:pt x="31" y="51"/>
                    </a:lnTo>
                    <a:lnTo>
                      <a:pt x="30" y="59"/>
                    </a:lnTo>
                    <a:lnTo>
                      <a:pt x="58" y="59"/>
                    </a:lnTo>
                    <a:lnTo>
                      <a:pt x="57" y="90"/>
                    </a:lnTo>
                    <a:lnTo>
                      <a:pt x="47" y="111"/>
                    </a:lnTo>
                    <a:lnTo>
                      <a:pt x="51" y="118"/>
                    </a:lnTo>
                    <a:lnTo>
                      <a:pt x="37" y="138"/>
                    </a:lnTo>
                    <a:lnTo>
                      <a:pt x="37" y="141"/>
                    </a:lnTo>
                    <a:lnTo>
                      <a:pt x="46" y="134"/>
                    </a:lnTo>
                    <a:lnTo>
                      <a:pt x="58" y="134"/>
                    </a:lnTo>
                    <a:lnTo>
                      <a:pt x="61" y="155"/>
                    </a:lnTo>
                    <a:lnTo>
                      <a:pt x="54" y="161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256500" tIns="35100" rIns="67500" bIns="35100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0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grpSp>
            <p:nvGrpSpPr>
              <p:cNvPr id="754" name="Group 49"/>
              <p:cNvGrpSpPr>
                <a:grpSpLocks/>
              </p:cNvGrpSpPr>
              <p:nvPr/>
            </p:nvGrpSpPr>
            <p:grpSpPr bwMode="auto">
              <a:xfrm>
                <a:off x="5504807" y="5708650"/>
                <a:ext cx="128587" cy="87313"/>
                <a:chOff x="2694" y="2270"/>
                <a:chExt cx="31" cy="21"/>
              </a:xfrm>
              <a:solidFill>
                <a:schemeClr val="bg2"/>
              </a:solidFill>
            </p:grpSpPr>
            <p:sp>
              <p:nvSpPr>
                <p:cNvPr id="771" name="Freeform 50"/>
                <p:cNvSpPr>
                  <a:spLocks/>
                </p:cNvSpPr>
                <p:nvPr/>
              </p:nvSpPr>
              <p:spPr bwMode="gray">
                <a:xfrm>
                  <a:off x="2694" y="2285"/>
                  <a:ext cx="7" cy="6"/>
                </a:xfrm>
                <a:custGeom>
                  <a:avLst/>
                  <a:gdLst>
                    <a:gd name="T0" fmla="*/ 0 w 50"/>
                    <a:gd name="T1" fmla="*/ 0 h 37"/>
                    <a:gd name="T2" fmla="*/ 0 w 50"/>
                    <a:gd name="T3" fmla="*/ 0 h 37"/>
                    <a:gd name="T4" fmla="*/ 0 w 50"/>
                    <a:gd name="T5" fmla="*/ 0 h 37"/>
                    <a:gd name="T6" fmla="*/ 0 w 50"/>
                    <a:gd name="T7" fmla="*/ 0 h 37"/>
                    <a:gd name="T8" fmla="*/ 0 w 50"/>
                    <a:gd name="T9" fmla="*/ 0 h 37"/>
                    <a:gd name="T10" fmla="*/ 0 w 50"/>
                    <a:gd name="T11" fmla="*/ 0 h 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0"/>
                    <a:gd name="T19" fmla="*/ 0 h 37"/>
                    <a:gd name="T20" fmla="*/ 50 w 50"/>
                    <a:gd name="T21" fmla="*/ 37 h 3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0" h="37">
                      <a:moveTo>
                        <a:pt x="49" y="0"/>
                      </a:moveTo>
                      <a:lnTo>
                        <a:pt x="25" y="0"/>
                      </a:lnTo>
                      <a:lnTo>
                        <a:pt x="0" y="25"/>
                      </a:lnTo>
                      <a:lnTo>
                        <a:pt x="13" y="36"/>
                      </a:lnTo>
                      <a:lnTo>
                        <a:pt x="36" y="36"/>
                      </a:lnTo>
                      <a:lnTo>
                        <a:pt x="49" y="0"/>
                      </a:lnTo>
                    </a:path>
                  </a:pathLst>
                </a:custGeom>
                <a:grpFill/>
                <a:ln w="3175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35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772" name="Freeform 51"/>
                <p:cNvSpPr>
                  <a:spLocks/>
                </p:cNvSpPr>
                <p:nvPr/>
              </p:nvSpPr>
              <p:spPr bwMode="gray">
                <a:xfrm>
                  <a:off x="2705" y="2270"/>
                  <a:ext cx="15" cy="15"/>
                </a:xfrm>
                <a:custGeom>
                  <a:avLst/>
                  <a:gdLst>
                    <a:gd name="T0" fmla="*/ 0 w 110"/>
                    <a:gd name="T1" fmla="*/ 0 h 93"/>
                    <a:gd name="T2" fmla="*/ 0 w 110"/>
                    <a:gd name="T3" fmla="*/ 0 h 93"/>
                    <a:gd name="T4" fmla="*/ 0 w 110"/>
                    <a:gd name="T5" fmla="*/ 0 h 93"/>
                    <a:gd name="T6" fmla="*/ 0 w 110"/>
                    <a:gd name="T7" fmla="*/ 0 h 93"/>
                    <a:gd name="T8" fmla="*/ 0 w 110"/>
                    <a:gd name="T9" fmla="*/ 0 h 93"/>
                    <a:gd name="T10" fmla="*/ 0 w 110"/>
                    <a:gd name="T11" fmla="*/ 0 h 93"/>
                    <a:gd name="T12" fmla="*/ 0 w 110"/>
                    <a:gd name="T13" fmla="*/ 0 h 93"/>
                    <a:gd name="T14" fmla="*/ 0 w 110"/>
                    <a:gd name="T15" fmla="*/ 0 h 93"/>
                    <a:gd name="T16" fmla="*/ 0 w 110"/>
                    <a:gd name="T17" fmla="*/ 0 h 93"/>
                    <a:gd name="T18" fmla="*/ 0 w 110"/>
                    <a:gd name="T19" fmla="*/ 0 h 93"/>
                    <a:gd name="T20" fmla="*/ 0 w 110"/>
                    <a:gd name="T21" fmla="*/ 0 h 9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10"/>
                    <a:gd name="T34" fmla="*/ 0 h 93"/>
                    <a:gd name="T35" fmla="*/ 110 w 110"/>
                    <a:gd name="T36" fmla="*/ 93 h 9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10" h="93">
                      <a:moveTo>
                        <a:pt x="80" y="0"/>
                      </a:moveTo>
                      <a:lnTo>
                        <a:pt x="69" y="12"/>
                      </a:lnTo>
                      <a:lnTo>
                        <a:pt x="23" y="18"/>
                      </a:lnTo>
                      <a:lnTo>
                        <a:pt x="0" y="49"/>
                      </a:lnTo>
                      <a:lnTo>
                        <a:pt x="34" y="74"/>
                      </a:lnTo>
                      <a:lnTo>
                        <a:pt x="52" y="92"/>
                      </a:lnTo>
                      <a:lnTo>
                        <a:pt x="86" y="85"/>
                      </a:lnTo>
                      <a:lnTo>
                        <a:pt x="109" y="74"/>
                      </a:lnTo>
                      <a:lnTo>
                        <a:pt x="103" y="49"/>
                      </a:lnTo>
                      <a:lnTo>
                        <a:pt x="86" y="31"/>
                      </a:lnTo>
                      <a:lnTo>
                        <a:pt x="80" y="0"/>
                      </a:lnTo>
                    </a:path>
                  </a:pathLst>
                </a:custGeom>
                <a:grpFill/>
                <a:ln w="3175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35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773" name="Freeform 52"/>
                <p:cNvSpPr>
                  <a:spLocks/>
                </p:cNvSpPr>
                <p:nvPr/>
              </p:nvSpPr>
              <p:spPr bwMode="gray">
                <a:xfrm>
                  <a:off x="2720" y="2271"/>
                  <a:ext cx="5" cy="8"/>
                </a:xfrm>
                <a:custGeom>
                  <a:avLst/>
                  <a:gdLst>
                    <a:gd name="T0" fmla="*/ 0 w 35"/>
                    <a:gd name="T1" fmla="*/ 0 h 49"/>
                    <a:gd name="T2" fmla="*/ 0 w 35"/>
                    <a:gd name="T3" fmla="*/ 0 h 49"/>
                    <a:gd name="T4" fmla="*/ 0 w 35"/>
                    <a:gd name="T5" fmla="*/ 0 h 49"/>
                    <a:gd name="T6" fmla="*/ 0 w 35"/>
                    <a:gd name="T7" fmla="*/ 0 h 49"/>
                    <a:gd name="T8" fmla="*/ 0 w 35"/>
                    <a:gd name="T9" fmla="*/ 0 h 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49"/>
                    <a:gd name="T17" fmla="*/ 35 w 35"/>
                    <a:gd name="T18" fmla="*/ 49 h 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49">
                      <a:moveTo>
                        <a:pt x="22" y="0"/>
                      </a:moveTo>
                      <a:lnTo>
                        <a:pt x="0" y="12"/>
                      </a:lnTo>
                      <a:lnTo>
                        <a:pt x="18" y="30"/>
                      </a:lnTo>
                      <a:lnTo>
                        <a:pt x="34" y="48"/>
                      </a:lnTo>
                      <a:lnTo>
                        <a:pt x="22" y="0"/>
                      </a:lnTo>
                    </a:path>
                  </a:pathLst>
                </a:custGeom>
                <a:grpFill/>
                <a:ln w="3175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35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755" name="Freeform 53"/>
              <p:cNvSpPr>
                <a:spLocks/>
              </p:cNvSpPr>
              <p:nvPr/>
            </p:nvSpPr>
            <p:spPr bwMode="gray">
              <a:xfrm>
                <a:off x="6030269" y="4824413"/>
                <a:ext cx="508000" cy="282575"/>
              </a:xfrm>
              <a:custGeom>
                <a:avLst/>
                <a:gdLst>
                  <a:gd name="T0" fmla="*/ 2147483647 w 108"/>
                  <a:gd name="T1" fmla="*/ 2147483647 h 107"/>
                  <a:gd name="T2" fmla="*/ 2147483647 w 108"/>
                  <a:gd name="T3" fmla="*/ 0 h 107"/>
                  <a:gd name="T4" fmla="*/ 2147483647 w 108"/>
                  <a:gd name="T5" fmla="*/ 2147483647 h 107"/>
                  <a:gd name="T6" fmla="*/ 2147483647 w 108"/>
                  <a:gd name="T7" fmla="*/ 2147483647 h 107"/>
                  <a:gd name="T8" fmla="*/ 2147483647 w 108"/>
                  <a:gd name="T9" fmla="*/ 2147483647 h 107"/>
                  <a:gd name="T10" fmla="*/ 2147483647 w 108"/>
                  <a:gd name="T11" fmla="*/ 2147483647 h 107"/>
                  <a:gd name="T12" fmla="*/ 2147483647 w 108"/>
                  <a:gd name="T13" fmla="*/ 2147483647 h 107"/>
                  <a:gd name="T14" fmla="*/ 2147483647 w 108"/>
                  <a:gd name="T15" fmla="*/ 2147483647 h 107"/>
                  <a:gd name="T16" fmla="*/ 2147483647 w 108"/>
                  <a:gd name="T17" fmla="*/ 2147483647 h 107"/>
                  <a:gd name="T18" fmla="*/ 2147483647 w 108"/>
                  <a:gd name="T19" fmla="*/ 2147483647 h 107"/>
                  <a:gd name="T20" fmla="*/ 2147483647 w 108"/>
                  <a:gd name="T21" fmla="*/ 2147483647 h 107"/>
                  <a:gd name="T22" fmla="*/ 2147483647 w 108"/>
                  <a:gd name="T23" fmla="*/ 2147483647 h 107"/>
                  <a:gd name="T24" fmla="*/ 2147483647 w 108"/>
                  <a:gd name="T25" fmla="*/ 2147483647 h 107"/>
                  <a:gd name="T26" fmla="*/ 2147483647 w 108"/>
                  <a:gd name="T27" fmla="*/ 2147483647 h 107"/>
                  <a:gd name="T28" fmla="*/ 2147483647 w 108"/>
                  <a:gd name="T29" fmla="*/ 2147483647 h 107"/>
                  <a:gd name="T30" fmla="*/ 2147483647 w 108"/>
                  <a:gd name="T31" fmla="*/ 2147483647 h 107"/>
                  <a:gd name="T32" fmla="*/ 2147483647 w 108"/>
                  <a:gd name="T33" fmla="*/ 2147483647 h 107"/>
                  <a:gd name="T34" fmla="*/ 2147483647 w 108"/>
                  <a:gd name="T35" fmla="*/ 2147483647 h 107"/>
                  <a:gd name="T36" fmla="*/ 2147483647 w 108"/>
                  <a:gd name="T37" fmla="*/ 2147483647 h 107"/>
                  <a:gd name="T38" fmla="*/ 2147483647 w 108"/>
                  <a:gd name="T39" fmla="*/ 2147483647 h 107"/>
                  <a:gd name="T40" fmla="*/ 2147483647 w 108"/>
                  <a:gd name="T41" fmla="*/ 2147483647 h 107"/>
                  <a:gd name="T42" fmla="*/ 2147483647 w 108"/>
                  <a:gd name="T43" fmla="*/ 2147483647 h 107"/>
                  <a:gd name="T44" fmla="*/ 2147483647 w 108"/>
                  <a:gd name="T45" fmla="*/ 2147483647 h 107"/>
                  <a:gd name="T46" fmla="*/ 2147483647 w 108"/>
                  <a:gd name="T47" fmla="*/ 2147483647 h 107"/>
                  <a:gd name="T48" fmla="*/ 2147483647 w 108"/>
                  <a:gd name="T49" fmla="*/ 2147483647 h 107"/>
                  <a:gd name="T50" fmla="*/ 2147483647 w 108"/>
                  <a:gd name="T51" fmla="*/ 2147483647 h 107"/>
                  <a:gd name="T52" fmla="*/ 0 w 108"/>
                  <a:gd name="T53" fmla="*/ 2147483647 h 107"/>
                  <a:gd name="T54" fmla="*/ 2147483647 w 108"/>
                  <a:gd name="T55" fmla="*/ 2147483647 h 107"/>
                  <a:gd name="T56" fmla="*/ 2147483647 w 108"/>
                  <a:gd name="T57" fmla="*/ 2147483647 h 107"/>
                  <a:gd name="T58" fmla="*/ 2147483647 w 108"/>
                  <a:gd name="T59" fmla="*/ 2147483647 h 107"/>
                  <a:gd name="T60" fmla="*/ 2147483647 w 108"/>
                  <a:gd name="T61" fmla="*/ 2147483647 h 107"/>
                  <a:gd name="T62" fmla="*/ 2147483647 w 108"/>
                  <a:gd name="T63" fmla="*/ 2147483647 h 107"/>
                  <a:gd name="T64" fmla="*/ 2147483647 w 108"/>
                  <a:gd name="T65" fmla="*/ 2147483647 h 107"/>
                  <a:gd name="T66" fmla="*/ 2147483647 w 108"/>
                  <a:gd name="T67" fmla="*/ 2147483647 h 107"/>
                  <a:gd name="T68" fmla="*/ 2147483647 w 108"/>
                  <a:gd name="T69" fmla="*/ 2147483647 h 107"/>
                  <a:gd name="T70" fmla="*/ 2147483647 w 108"/>
                  <a:gd name="T71" fmla="*/ 2147483647 h 107"/>
                  <a:gd name="T72" fmla="*/ 2147483647 w 108"/>
                  <a:gd name="T73" fmla="*/ 2147483647 h 107"/>
                  <a:gd name="T74" fmla="*/ 2147483647 w 108"/>
                  <a:gd name="T75" fmla="*/ 2147483647 h 107"/>
                  <a:gd name="T76" fmla="*/ 2147483647 w 108"/>
                  <a:gd name="T77" fmla="*/ 2147483647 h 107"/>
                  <a:gd name="T78" fmla="*/ 2147483647 w 108"/>
                  <a:gd name="T79" fmla="*/ 2147483647 h 107"/>
                  <a:gd name="T80" fmla="*/ 2147483647 w 108"/>
                  <a:gd name="T81" fmla="*/ 2147483647 h 107"/>
                  <a:gd name="T82" fmla="*/ 2147483647 w 108"/>
                  <a:gd name="T83" fmla="*/ 2147483647 h 107"/>
                  <a:gd name="T84" fmla="*/ 2147483647 w 108"/>
                  <a:gd name="T85" fmla="*/ 2147483647 h 107"/>
                  <a:gd name="T86" fmla="*/ 2147483647 w 108"/>
                  <a:gd name="T87" fmla="*/ 2147483647 h 107"/>
                  <a:gd name="T88" fmla="*/ 2147483647 w 108"/>
                  <a:gd name="T89" fmla="*/ 2147483647 h 107"/>
                  <a:gd name="T90" fmla="*/ 2147483647 w 108"/>
                  <a:gd name="T91" fmla="*/ 2147483647 h 10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08"/>
                  <a:gd name="T139" fmla="*/ 0 h 107"/>
                  <a:gd name="T140" fmla="*/ 108 w 108"/>
                  <a:gd name="T141" fmla="*/ 107 h 107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08" h="107">
                    <a:moveTo>
                      <a:pt x="69" y="12"/>
                    </a:moveTo>
                    <a:lnTo>
                      <a:pt x="73" y="0"/>
                    </a:lnTo>
                    <a:lnTo>
                      <a:pt x="78" y="2"/>
                    </a:lnTo>
                    <a:lnTo>
                      <a:pt x="86" y="12"/>
                    </a:lnTo>
                    <a:lnTo>
                      <a:pt x="97" y="14"/>
                    </a:lnTo>
                    <a:lnTo>
                      <a:pt x="108" y="37"/>
                    </a:lnTo>
                    <a:lnTo>
                      <a:pt x="108" y="50"/>
                    </a:lnTo>
                    <a:lnTo>
                      <a:pt x="101" y="50"/>
                    </a:lnTo>
                    <a:lnTo>
                      <a:pt x="99" y="54"/>
                    </a:lnTo>
                    <a:lnTo>
                      <a:pt x="99" y="65"/>
                    </a:lnTo>
                    <a:lnTo>
                      <a:pt x="96" y="75"/>
                    </a:lnTo>
                    <a:lnTo>
                      <a:pt x="101" y="82"/>
                    </a:lnTo>
                    <a:lnTo>
                      <a:pt x="101" y="84"/>
                    </a:lnTo>
                    <a:lnTo>
                      <a:pt x="97" y="96"/>
                    </a:lnTo>
                    <a:lnTo>
                      <a:pt x="80" y="96"/>
                    </a:lnTo>
                    <a:lnTo>
                      <a:pt x="77" y="107"/>
                    </a:lnTo>
                    <a:lnTo>
                      <a:pt x="65" y="104"/>
                    </a:lnTo>
                    <a:lnTo>
                      <a:pt x="59" y="94"/>
                    </a:lnTo>
                    <a:lnTo>
                      <a:pt x="51" y="98"/>
                    </a:lnTo>
                    <a:lnTo>
                      <a:pt x="44" y="92"/>
                    </a:lnTo>
                    <a:lnTo>
                      <a:pt x="40" y="79"/>
                    </a:lnTo>
                    <a:lnTo>
                      <a:pt x="28" y="77"/>
                    </a:lnTo>
                    <a:lnTo>
                      <a:pt x="24" y="82"/>
                    </a:lnTo>
                    <a:lnTo>
                      <a:pt x="17" y="79"/>
                    </a:lnTo>
                    <a:lnTo>
                      <a:pt x="11" y="79"/>
                    </a:lnTo>
                    <a:lnTo>
                      <a:pt x="8" y="69"/>
                    </a:lnTo>
                    <a:lnTo>
                      <a:pt x="0" y="54"/>
                    </a:lnTo>
                    <a:lnTo>
                      <a:pt x="5" y="52"/>
                    </a:lnTo>
                    <a:lnTo>
                      <a:pt x="8" y="52"/>
                    </a:lnTo>
                    <a:lnTo>
                      <a:pt x="14" y="54"/>
                    </a:lnTo>
                    <a:lnTo>
                      <a:pt x="18" y="50"/>
                    </a:lnTo>
                    <a:lnTo>
                      <a:pt x="23" y="63"/>
                    </a:lnTo>
                    <a:lnTo>
                      <a:pt x="34" y="60"/>
                    </a:lnTo>
                    <a:lnTo>
                      <a:pt x="35" y="52"/>
                    </a:lnTo>
                    <a:lnTo>
                      <a:pt x="42" y="50"/>
                    </a:lnTo>
                    <a:lnTo>
                      <a:pt x="45" y="58"/>
                    </a:lnTo>
                    <a:lnTo>
                      <a:pt x="47" y="60"/>
                    </a:lnTo>
                    <a:lnTo>
                      <a:pt x="50" y="50"/>
                    </a:lnTo>
                    <a:lnTo>
                      <a:pt x="49" y="35"/>
                    </a:lnTo>
                    <a:lnTo>
                      <a:pt x="46" y="27"/>
                    </a:lnTo>
                    <a:lnTo>
                      <a:pt x="46" y="23"/>
                    </a:lnTo>
                    <a:lnTo>
                      <a:pt x="50" y="12"/>
                    </a:lnTo>
                    <a:lnTo>
                      <a:pt x="53" y="14"/>
                    </a:lnTo>
                    <a:lnTo>
                      <a:pt x="59" y="14"/>
                    </a:lnTo>
                    <a:lnTo>
                      <a:pt x="61" y="12"/>
                    </a:lnTo>
                    <a:lnTo>
                      <a:pt x="69" y="12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56" name="Freeform 54"/>
              <p:cNvSpPr>
                <a:spLocks/>
              </p:cNvSpPr>
              <p:nvPr/>
            </p:nvSpPr>
            <p:spPr bwMode="gray">
              <a:xfrm>
                <a:off x="6427144" y="5116513"/>
                <a:ext cx="531813" cy="541337"/>
              </a:xfrm>
              <a:custGeom>
                <a:avLst/>
                <a:gdLst>
                  <a:gd name="T0" fmla="*/ 2147483647 w 373"/>
                  <a:gd name="T1" fmla="*/ 2147483647 h 354"/>
                  <a:gd name="T2" fmla="*/ 2147483647 w 373"/>
                  <a:gd name="T3" fmla="*/ 2147483647 h 354"/>
                  <a:gd name="T4" fmla="*/ 2147483647 w 373"/>
                  <a:gd name="T5" fmla="*/ 2147483647 h 354"/>
                  <a:gd name="T6" fmla="*/ 2147483647 w 373"/>
                  <a:gd name="T7" fmla="*/ 2147483647 h 354"/>
                  <a:gd name="T8" fmla="*/ 2147483647 w 373"/>
                  <a:gd name="T9" fmla="*/ 2147483647 h 354"/>
                  <a:gd name="T10" fmla="*/ 2147483647 w 373"/>
                  <a:gd name="T11" fmla="*/ 2147483647 h 354"/>
                  <a:gd name="T12" fmla="*/ 2147483647 w 373"/>
                  <a:gd name="T13" fmla="*/ 2147483647 h 354"/>
                  <a:gd name="T14" fmla="*/ 2147483647 w 373"/>
                  <a:gd name="T15" fmla="*/ 2147483647 h 354"/>
                  <a:gd name="T16" fmla="*/ 2147483647 w 373"/>
                  <a:gd name="T17" fmla="*/ 2147483647 h 354"/>
                  <a:gd name="T18" fmla="*/ 2147483647 w 373"/>
                  <a:gd name="T19" fmla="*/ 2147483647 h 354"/>
                  <a:gd name="T20" fmla="*/ 2147483647 w 373"/>
                  <a:gd name="T21" fmla="*/ 2147483647 h 354"/>
                  <a:gd name="T22" fmla="*/ 2147483647 w 373"/>
                  <a:gd name="T23" fmla="*/ 2147483647 h 354"/>
                  <a:gd name="T24" fmla="*/ 2147483647 w 373"/>
                  <a:gd name="T25" fmla="*/ 2147483647 h 354"/>
                  <a:gd name="T26" fmla="*/ 2147483647 w 373"/>
                  <a:gd name="T27" fmla="*/ 2147483647 h 354"/>
                  <a:gd name="T28" fmla="*/ 2147483647 w 373"/>
                  <a:gd name="T29" fmla="*/ 2147483647 h 354"/>
                  <a:gd name="T30" fmla="*/ 2147483647 w 373"/>
                  <a:gd name="T31" fmla="*/ 2147483647 h 354"/>
                  <a:gd name="T32" fmla="*/ 2147483647 w 373"/>
                  <a:gd name="T33" fmla="*/ 2147483647 h 354"/>
                  <a:gd name="T34" fmla="*/ 2147483647 w 373"/>
                  <a:gd name="T35" fmla="*/ 2147483647 h 354"/>
                  <a:gd name="T36" fmla="*/ 2147483647 w 373"/>
                  <a:gd name="T37" fmla="*/ 2147483647 h 354"/>
                  <a:gd name="T38" fmla="*/ 2147483647 w 373"/>
                  <a:gd name="T39" fmla="*/ 2147483647 h 354"/>
                  <a:gd name="T40" fmla="*/ 2147483647 w 373"/>
                  <a:gd name="T41" fmla="*/ 2147483647 h 354"/>
                  <a:gd name="T42" fmla="*/ 2147483647 w 373"/>
                  <a:gd name="T43" fmla="*/ 2147483647 h 354"/>
                  <a:gd name="T44" fmla="*/ 2147483647 w 373"/>
                  <a:gd name="T45" fmla="*/ 2147483647 h 354"/>
                  <a:gd name="T46" fmla="*/ 2147483647 w 373"/>
                  <a:gd name="T47" fmla="*/ 2147483647 h 354"/>
                  <a:gd name="T48" fmla="*/ 2147483647 w 373"/>
                  <a:gd name="T49" fmla="*/ 2147483647 h 354"/>
                  <a:gd name="T50" fmla="*/ 2147483647 w 373"/>
                  <a:gd name="T51" fmla="*/ 2147483647 h 354"/>
                  <a:gd name="T52" fmla="*/ 2147483647 w 373"/>
                  <a:gd name="T53" fmla="*/ 2147483647 h 354"/>
                  <a:gd name="T54" fmla="*/ 2147483647 w 373"/>
                  <a:gd name="T55" fmla="*/ 2147483647 h 354"/>
                  <a:gd name="T56" fmla="*/ 2147483647 w 373"/>
                  <a:gd name="T57" fmla="*/ 2147483647 h 354"/>
                  <a:gd name="T58" fmla="*/ 2147483647 w 373"/>
                  <a:gd name="T59" fmla="*/ 2147483647 h 354"/>
                  <a:gd name="T60" fmla="*/ 2147483647 w 373"/>
                  <a:gd name="T61" fmla="*/ 2147483647 h 354"/>
                  <a:gd name="T62" fmla="*/ 2147483647 w 373"/>
                  <a:gd name="T63" fmla="*/ 2147483647 h 354"/>
                  <a:gd name="T64" fmla="*/ 2147483647 w 373"/>
                  <a:gd name="T65" fmla="*/ 2147483647 h 354"/>
                  <a:gd name="T66" fmla="*/ 2147483647 w 373"/>
                  <a:gd name="T67" fmla="*/ 2147483647 h 354"/>
                  <a:gd name="T68" fmla="*/ 2147483647 w 373"/>
                  <a:gd name="T69" fmla="*/ 2147483647 h 354"/>
                  <a:gd name="T70" fmla="*/ 2147483647 w 373"/>
                  <a:gd name="T71" fmla="*/ 2147483647 h 354"/>
                  <a:gd name="T72" fmla="*/ 2147483647 w 373"/>
                  <a:gd name="T73" fmla="*/ 2147483647 h 354"/>
                  <a:gd name="T74" fmla="*/ 2147483647 w 373"/>
                  <a:gd name="T75" fmla="*/ 2147483647 h 354"/>
                  <a:gd name="T76" fmla="*/ 2147483647 w 373"/>
                  <a:gd name="T77" fmla="*/ 2147483647 h 354"/>
                  <a:gd name="T78" fmla="*/ 2147483647 w 373"/>
                  <a:gd name="T79" fmla="*/ 2147483647 h 354"/>
                  <a:gd name="T80" fmla="*/ 2147483647 w 373"/>
                  <a:gd name="T81" fmla="*/ 2147483647 h 354"/>
                  <a:gd name="T82" fmla="*/ 2147483647 w 373"/>
                  <a:gd name="T83" fmla="*/ 2147483647 h 354"/>
                  <a:gd name="T84" fmla="*/ 2147483647 w 373"/>
                  <a:gd name="T85" fmla="*/ 2147483647 h 354"/>
                  <a:gd name="T86" fmla="*/ 2147483647 w 373"/>
                  <a:gd name="T87" fmla="*/ 2147483647 h 354"/>
                  <a:gd name="T88" fmla="*/ 2147483647 w 373"/>
                  <a:gd name="T89" fmla="*/ 2147483647 h 354"/>
                  <a:gd name="T90" fmla="*/ 2147483647 w 373"/>
                  <a:gd name="T91" fmla="*/ 2147483647 h 354"/>
                  <a:gd name="T92" fmla="*/ 2147483647 w 373"/>
                  <a:gd name="T93" fmla="*/ 2147483647 h 354"/>
                  <a:gd name="T94" fmla="*/ 2147483647 w 373"/>
                  <a:gd name="T95" fmla="*/ 2147483647 h 354"/>
                  <a:gd name="T96" fmla="*/ 2147483647 w 373"/>
                  <a:gd name="T97" fmla="*/ 2147483647 h 354"/>
                  <a:gd name="T98" fmla="*/ 2147483647 w 373"/>
                  <a:gd name="T99" fmla="*/ 2147483647 h 354"/>
                  <a:gd name="T100" fmla="*/ 2147483647 w 373"/>
                  <a:gd name="T101" fmla="*/ 2147483647 h 354"/>
                  <a:gd name="T102" fmla="*/ 2147483647 w 373"/>
                  <a:gd name="T103" fmla="*/ 2147483647 h 354"/>
                  <a:gd name="T104" fmla="*/ 2147483647 w 373"/>
                  <a:gd name="T105" fmla="*/ 2147483647 h 354"/>
                  <a:gd name="T106" fmla="*/ 2147483647 w 373"/>
                  <a:gd name="T107" fmla="*/ 2147483647 h 354"/>
                  <a:gd name="T108" fmla="*/ 2147483647 w 373"/>
                  <a:gd name="T109" fmla="*/ 2147483647 h 35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73"/>
                  <a:gd name="T166" fmla="*/ 0 h 354"/>
                  <a:gd name="T167" fmla="*/ 373 w 373"/>
                  <a:gd name="T168" fmla="*/ 354 h 35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73" h="354">
                    <a:moveTo>
                      <a:pt x="241" y="4"/>
                    </a:moveTo>
                    <a:cubicBezTo>
                      <a:pt x="222" y="3"/>
                      <a:pt x="215" y="0"/>
                      <a:pt x="199" y="4"/>
                    </a:cubicBezTo>
                    <a:cubicBezTo>
                      <a:pt x="183" y="14"/>
                      <a:pt x="166" y="15"/>
                      <a:pt x="149" y="21"/>
                    </a:cubicBezTo>
                    <a:cubicBezTo>
                      <a:pt x="150" y="31"/>
                      <a:pt x="151" y="43"/>
                      <a:pt x="160" y="48"/>
                    </a:cubicBezTo>
                    <a:cubicBezTo>
                      <a:pt x="162" y="59"/>
                      <a:pt x="161" y="69"/>
                      <a:pt x="170" y="76"/>
                    </a:cubicBezTo>
                    <a:cubicBezTo>
                      <a:pt x="173" y="83"/>
                      <a:pt x="172" y="84"/>
                      <a:pt x="166" y="88"/>
                    </a:cubicBezTo>
                    <a:cubicBezTo>
                      <a:pt x="161" y="87"/>
                      <a:pt x="157" y="85"/>
                      <a:pt x="152" y="84"/>
                    </a:cubicBezTo>
                    <a:cubicBezTo>
                      <a:pt x="147" y="82"/>
                      <a:pt x="146" y="78"/>
                      <a:pt x="142" y="75"/>
                    </a:cubicBezTo>
                    <a:cubicBezTo>
                      <a:pt x="131" y="76"/>
                      <a:pt x="123" y="80"/>
                      <a:pt x="112" y="82"/>
                    </a:cubicBezTo>
                    <a:cubicBezTo>
                      <a:pt x="106" y="84"/>
                      <a:pt x="100" y="84"/>
                      <a:pt x="94" y="87"/>
                    </a:cubicBezTo>
                    <a:cubicBezTo>
                      <a:pt x="91" y="82"/>
                      <a:pt x="90" y="79"/>
                      <a:pt x="85" y="75"/>
                    </a:cubicBezTo>
                    <a:cubicBezTo>
                      <a:pt x="82" y="69"/>
                      <a:pt x="81" y="67"/>
                      <a:pt x="74" y="66"/>
                    </a:cubicBezTo>
                    <a:cubicBezTo>
                      <a:pt x="68" y="63"/>
                      <a:pt x="63" y="65"/>
                      <a:pt x="58" y="69"/>
                    </a:cubicBezTo>
                    <a:cubicBezTo>
                      <a:pt x="54" y="77"/>
                      <a:pt x="52" y="80"/>
                      <a:pt x="43" y="82"/>
                    </a:cubicBezTo>
                    <a:cubicBezTo>
                      <a:pt x="36" y="85"/>
                      <a:pt x="33" y="82"/>
                      <a:pt x="26" y="81"/>
                    </a:cubicBezTo>
                    <a:cubicBezTo>
                      <a:pt x="22" y="78"/>
                      <a:pt x="17" y="76"/>
                      <a:pt x="13" y="73"/>
                    </a:cubicBezTo>
                    <a:cubicBezTo>
                      <a:pt x="0" y="78"/>
                      <a:pt x="11" y="90"/>
                      <a:pt x="20" y="91"/>
                    </a:cubicBezTo>
                    <a:cubicBezTo>
                      <a:pt x="27" y="95"/>
                      <a:pt x="41" y="126"/>
                      <a:pt x="46" y="136"/>
                    </a:cubicBezTo>
                    <a:cubicBezTo>
                      <a:pt x="49" y="150"/>
                      <a:pt x="44" y="132"/>
                      <a:pt x="52" y="144"/>
                    </a:cubicBezTo>
                    <a:cubicBezTo>
                      <a:pt x="59" y="155"/>
                      <a:pt x="52" y="157"/>
                      <a:pt x="70" y="160"/>
                    </a:cubicBezTo>
                    <a:cubicBezTo>
                      <a:pt x="81" y="168"/>
                      <a:pt x="91" y="180"/>
                      <a:pt x="103" y="187"/>
                    </a:cubicBezTo>
                    <a:cubicBezTo>
                      <a:pt x="107" y="194"/>
                      <a:pt x="108" y="197"/>
                      <a:pt x="115" y="201"/>
                    </a:cubicBezTo>
                    <a:cubicBezTo>
                      <a:pt x="112" y="210"/>
                      <a:pt x="111" y="219"/>
                      <a:pt x="110" y="229"/>
                    </a:cubicBezTo>
                    <a:cubicBezTo>
                      <a:pt x="111" y="231"/>
                      <a:pt x="111" y="234"/>
                      <a:pt x="112" y="235"/>
                    </a:cubicBezTo>
                    <a:cubicBezTo>
                      <a:pt x="115" y="238"/>
                      <a:pt x="121" y="238"/>
                      <a:pt x="124" y="241"/>
                    </a:cubicBezTo>
                    <a:cubicBezTo>
                      <a:pt x="131" y="247"/>
                      <a:pt x="137" y="256"/>
                      <a:pt x="145" y="261"/>
                    </a:cubicBezTo>
                    <a:cubicBezTo>
                      <a:pt x="150" y="268"/>
                      <a:pt x="155" y="272"/>
                      <a:pt x="163" y="274"/>
                    </a:cubicBezTo>
                    <a:cubicBezTo>
                      <a:pt x="171" y="278"/>
                      <a:pt x="172" y="284"/>
                      <a:pt x="179" y="289"/>
                    </a:cubicBezTo>
                    <a:cubicBezTo>
                      <a:pt x="184" y="298"/>
                      <a:pt x="184" y="291"/>
                      <a:pt x="187" y="285"/>
                    </a:cubicBezTo>
                    <a:cubicBezTo>
                      <a:pt x="188" y="270"/>
                      <a:pt x="189" y="270"/>
                      <a:pt x="200" y="262"/>
                    </a:cubicBezTo>
                    <a:cubicBezTo>
                      <a:pt x="202" y="250"/>
                      <a:pt x="205" y="247"/>
                      <a:pt x="200" y="237"/>
                    </a:cubicBezTo>
                    <a:cubicBezTo>
                      <a:pt x="207" y="234"/>
                      <a:pt x="215" y="237"/>
                      <a:pt x="223" y="238"/>
                    </a:cubicBezTo>
                    <a:cubicBezTo>
                      <a:pt x="237" y="244"/>
                      <a:pt x="232" y="240"/>
                      <a:pt x="239" y="246"/>
                    </a:cubicBezTo>
                    <a:cubicBezTo>
                      <a:pt x="242" y="258"/>
                      <a:pt x="243" y="266"/>
                      <a:pt x="244" y="279"/>
                    </a:cubicBezTo>
                    <a:cubicBezTo>
                      <a:pt x="245" y="324"/>
                      <a:pt x="235" y="337"/>
                      <a:pt x="271" y="351"/>
                    </a:cubicBezTo>
                    <a:cubicBezTo>
                      <a:pt x="292" y="345"/>
                      <a:pt x="267" y="354"/>
                      <a:pt x="280" y="343"/>
                    </a:cubicBezTo>
                    <a:cubicBezTo>
                      <a:pt x="290" y="335"/>
                      <a:pt x="315" y="342"/>
                      <a:pt x="328" y="333"/>
                    </a:cubicBezTo>
                    <a:cubicBezTo>
                      <a:pt x="328" y="332"/>
                      <a:pt x="332" y="324"/>
                      <a:pt x="332" y="324"/>
                    </a:cubicBezTo>
                    <a:cubicBezTo>
                      <a:pt x="336" y="304"/>
                      <a:pt x="328" y="303"/>
                      <a:pt x="343" y="300"/>
                    </a:cubicBezTo>
                    <a:cubicBezTo>
                      <a:pt x="349" y="297"/>
                      <a:pt x="352" y="289"/>
                      <a:pt x="355" y="283"/>
                    </a:cubicBezTo>
                    <a:cubicBezTo>
                      <a:pt x="354" y="266"/>
                      <a:pt x="355" y="244"/>
                      <a:pt x="347" y="228"/>
                    </a:cubicBezTo>
                    <a:cubicBezTo>
                      <a:pt x="345" y="218"/>
                      <a:pt x="362" y="217"/>
                      <a:pt x="370" y="216"/>
                    </a:cubicBezTo>
                    <a:cubicBezTo>
                      <a:pt x="371" y="211"/>
                      <a:pt x="373" y="204"/>
                      <a:pt x="370" y="199"/>
                    </a:cubicBezTo>
                    <a:cubicBezTo>
                      <a:pt x="365" y="190"/>
                      <a:pt x="344" y="175"/>
                      <a:pt x="335" y="174"/>
                    </a:cubicBezTo>
                    <a:cubicBezTo>
                      <a:pt x="333" y="166"/>
                      <a:pt x="333" y="158"/>
                      <a:pt x="337" y="150"/>
                    </a:cubicBezTo>
                    <a:cubicBezTo>
                      <a:pt x="338" y="142"/>
                      <a:pt x="338" y="140"/>
                      <a:pt x="344" y="135"/>
                    </a:cubicBezTo>
                    <a:cubicBezTo>
                      <a:pt x="346" y="129"/>
                      <a:pt x="355" y="121"/>
                      <a:pt x="355" y="121"/>
                    </a:cubicBezTo>
                    <a:cubicBezTo>
                      <a:pt x="356" y="113"/>
                      <a:pt x="355" y="112"/>
                      <a:pt x="349" y="108"/>
                    </a:cubicBezTo>
                    <a:cubicBezTo>
                      <a:pt x="342" y="90"/>
                      <a:pt x="329" y="86"/>
                      <a:pt x="311" y="84"/>
                    </a:cubicBezTo>
                    <a:cubicBezTo>
                      <a:pt x="293" y="78"/>
                      <a:pt x="293" y="88"/>
                      <a:pt x="287" y="70"/>
                    </a:cubicBezTo>
                    <a:cubicBezTo>
                      <a:pt x="286" y="61"/>
                      <a:pt x="281" y="59"/>
                      <a:pt x="272" y="57"/>
                    </a:cubicBezTo>
                    <a:cubicBezTo>
                      <a:pt x="268" y="55"/>
                      <a:pt x="263" y="54"/>
                      <a:pt x="259" y="52"/>
                    </a:cubicBezTo>
                    <a:cubicBezTo>
                      <a:pt x="257" y="48"/>
                      <a:pt x="256" y="43"/>
                      <a:pt x="254" y="39"/>
                    </a:cubicBezTo>
                    <a:cubicBezTo>
                      <a:pt x="253" y="32"/>
                      <a:pt x="252" y="22"/>
                      <a:pt x="248" y="16"/>
                    </a:cubicBezTo>
                    <a:cubicBezTo>
                      <a:pt x="245" y="10"/>
                      <a:pt x="241" y="11"/>
                      <a:pt x="241" y="4"/>
                    </a:cubicBez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57" name="Freeform 55"/>
              <p:cNvSpPr>
                <a:spLocks/>
              </p:cNvSpPr>
              <p:nvPr/>
            </p:nvSpPr>
            <p:spPr bwMode="gray">
              <a:xfrm>
                <a:off x="6771632" y="5495925"/>
                <a:ext cx="166687" cy="179388"/>
              </a:xfrm>
              <a:custGeom>
                <a:avLst/>
                <a:gdLst>
                  <a:gd name="T0" fmla="*/ 2147483647 w 115"/>
                  <a:gd name="T1" fmla="*/ 2147483647 h 117"/>
                  <a:gd name="T2" fmla="*/ 2147483647 w 115"/>
                  <a:gd name="T3" fmla="*/ 0 h 117"/>
                  <a:gd name="T4" fmla="*/ 2147483647 w 115"/>
                  <a:gd name="T5" fmla="*/ 2147483647 h 117"/>
                  <a:gd name="T6" fmla="*/ 2147483647 w 115"/>
                  <a:gd name="T7" fmla="*/ 2147483647 h 117"/>
                  <a:gd name="T8" fmla="*/ 2147483647 w 115"/>
                  <a:gd name="T9" fmla="*/ 2147483647 h 117"/>
                  <a:gd name="T10" fmla="*/ 2147483647 w 115"/>
                  <a:gd name="T11" fmla="*/ 2147483647 h 117"/>
                  <a:gd name="T12" fmla="*/ 2147483647 w 115"/>
                  <a:gd name="T13" fmla="*/ 2147483647 h 117"/>
                  <a:gd name="T14" fmla="*/ 2147483647 w 115"/>
                  <a:gd name="T15" fmla="*/ 2147483647 h 117"/>
                  <a:gd name="T16" fmla="*/ 2147483647 w 115"/>
                  <a:gd name="T17" fmla="*/ 2147483647 h 117"/>
                  <a:gd name="T18" fmla="*/ 2147483647 w 115"/>
                  <a:gd name="T19" fmla="*/ 2147483647 h 117"/>
                  <a:gd name="T20" fmla="*/ 2147483647 w 115"/>
                  <a:gd name="T21" fmla="*/ 2147483647 h 117"/>
                  <a:gd name="T22" fmla="*/ 2147483647 w 115"/>
                  <a:gd name="T23" fmla="*/ 2147483647 h 117"/>
                  <a:gd name="T24" fmla="*/ 2147483647 w 115"/>
                  <a:gd name="T25" fmla="*/ 2147483647 h 117"/>
                  <a:gd name="T26" fmla="*/ 2147483647 w 115"/>
                  <a:gd name="T27" fmla="*/ 2147483647 h 117"/>
                  <a:gd name="T28" fmla="*/ 0 w 115"/>
                  <a:gd name="T29" fmla="*/ 2147483647 h 117"/>
                  <a:gd name="T30" fmla="*/ 2147483647 w 115"/>
                  <a:gd name="T31" fmla="*/ 2147483647 h 117"/>
                  <a:gd name="T32" fmla="*/ 2147483647 w 115"/>
                  <a:gd name="T33" fmla="*/ 2147483647 h 117"/>
                  <a:gd name="T34" fmla="*/ 2147483647 w 115"/>
                  <a:gd name="T35" fmla="*/ 2147483647 h 117"/>
                  <a:gd name="T36" fmla="*/ 2147483647 w 115"/>
                  <a:gd name="T37" fmla="*/ 2147483647 h 1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15"/>
                  <a:gd name="T58" fmla="*/ 0 h 117"/>
                  <a:gd name="T59" fmla="*/ 115 w 115"/>
                  <a:gd name="T60" fmla="*/ 117 h 11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15" h="117">
                    <a:moveTo>
                      <a:pt x="3" y="12"/>
                    </a:moveTo>
                    <a:cubicBezTo>
                      <a:pt x="29" y="9"/>
                      <a:pt x="26" y="10"/>
                      <a:pt x="42" y="0"/>
                    </a:cubicBezTo>
                    <a:cubicBezTo>
                      <a:pt x="49" y="1"/>
                      <a:pt x="51" y="3"/>
                      <a:pt x="57" y="7"/>
                    </a:cubicBezTo>
                    <a:cubicBezTo>
                      <a:pt x="59" y="15"/>
                      <a:pt x="68" y="7"/>
                      <a:pt x="75" y="6"/>
                    </a:cubicBezTo>
                    <a:cubicBezTo>
                      <a:pt x="82" y="2"/>
                      <a:pt x="88" y="7"/>
                      <a:pt x="96" y="4"/>
                    </a:cubicBezTo>
                    <a:cubicBezTo>
                      <a:pt x="100" y="5"/>
                      <a:pt x="107" y="2"/>
                      <a:pt x="109" y="6"/>
                    </a:cubicBezTo>
                    <a:cubicBezTo>
                      <a:pt x="115" y="19"/>
                      <a:pt x="110" y="37"/>
                      <a:pt x="97" y="42"/>
                    </a:cubicBezTo>
                    <a:cubicBezTo>
                      <a:pt x="95" y="57"/>
                      <a:pt x="97" y="72"/>
                      <a:pt x="82" y="78"/>
                    </a:cubicBezTo>
                    <a:cubicBezTo>
                      <a:pt x="75" y="85"/>
                      <a:pt x="71" y="84"/>
                      <a:pt x="61" y="85"/>
                    </a:cubicBezTo>
                    <a:cubicBezTo>
                      <a:pt x="54" y="88"/>
                      <a:pt x="50" y="93"/>
                      <a:pt x="43" y="94"/>
                    </a:cubicBezTo>
                    <a:cubicBezTo>
                      <a:pt x="32" y="99"/>
                      <a:pt x="35" y="96"/>
                      <a:pt x="39" y="108"/>
                    </a:cubicBezTo>
                    <a:cubicBezTo>
                      <a:pt x="32" y="112"/>
                      <a:pt x="32" y="117"/>
                      <a:pt x="27" y="109"/>
                    </a:cubicBezTo>
                    <a:cubicBezTo>
                      <a:pt x="25" y="98"/>
                      <a:pt x="26" y="95"/>
                      <a:pt x="16" y="91"/>
                    </a:cubicBezTo>
                    <a:cubicBezTo>
                      <a:pt x="12" y="86"/>
                      <a:pt x="10" y="80"/>
                      <a:pt x="7" y="75"/>
                    </a:cubicBezTo>
                    <a:cubicBezTo>
                      <a:pt x="5" y="72"/>
                      <a:pt x="0" y="66"/>
                      <a:pt x="0" y="66"/>
                    </a:cubicBezTo>
                    <a:cubicBezTo>
                      <a:pt x="1" y="55"/>
                      <a:pt x="1" y="40"/>
                      <a:pt x="6" y="30"/>
                    </a:cubicBezTo>
                    <a:cubicBezTo>
                      <a:pt x="7" y="26"/>
                      <a:pt x="10" y="22"/>
                      <a:pt x="9" y="19"/>
                    </a:cubicBezTo>
                    <a:cubicBezTo>
                      <a:pt x="8" y="17"/>
                      <a:pt x="5" y="19"/>
                      <a:pt x="4" y="18"/>
                    </a:cubicBezTo>
                    <a:cubicBezTo>
                      <a:pt x="3" y="16"/>
                      <a:pt x="3" y="14"/>
                      <a:pt x="3" y="12"/>
                    </a:cubicBez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58" name="Freeform 56"/>
              <p:cNvSpPr>
                <a:spLocks/>
              </p:cNvSpPr>
              <p:nvPr/>
            </p:nvSpPr>
            <p:spPr bwMode="gray">
              <a:xfrm>
                <a:off x="6671619" y="5462588"/>
                <a:ext cx="149225" cy="279400"/>
              </a:xfrm>
              <a:custGeom>
                <a:avLst/>
                <a:gdLst>
                  <a:gd name="T0" fmla="*/ 2147483647 w 31"/>
                  <a:gd name="T1" fmla="*/ 2147483647 h 104"/>
                  <a:gd name="T2" fmla="*/ 2147483647 w 31"/>
                  <a:gd name="T3" fmla="*/ 2147483647 h 104"/>
                  <a:gd name="T4" fmla="*/ 2147483647 w 31"/>
                  <a:gd name="T5" fmla="*/ 2147483647 h 104"/>
                  <a:gd name="T6" fmla="*/ 2147483647 w 31"/>
                  <a:gd name="T7" fmla="*/ 2147483647 h 104"/>
                  <a:gd name="T8" fmla="*/ 2147483647 w 31"/>
                  <a:gd name="T9" fmla="*/ 2147483647 h 104"/>
                  <a:gd name="T10" fmla="*/ 2147483647 w 31"/>
                  <a:gd name="T11" fmla="*/ 2147483647 h 104"/>
                  <a:gd name="T12" fmla="*/ 2147483647 w 31"/>
                  <a:gd name="T13" fmla="*/ 2147483647 h 104"/>
                  <a:gd name="T14" fmla="*/ 2147483647 w 31"/>
                  <a:gd name="T15" fmla="*/ 0 h 104"/>
                  <a:gd name="T16" fmla="*/ 2147483647 w 31"/>
                  <a:gd name="T17" fmla="*/ 2147483647 h 104"/>
                  <a:gd name="T18" fmla="*/ 2147483647 w 31"/>
                  <a:gd name="T19" fmla="*/ 2147483647 h 104"/>
                  <a:gd name="T20" fmla="*/ 2147483647 w 31"/>
                  <a:gd name="T21" fmla="*/ 2147483647 h 104"/>
                  <a:gd name="T22" fmla="*/ 2147483647 w 31"/>
                  <a:gd name="T23" fmla="*/ 2147483647 h 104"/>
                  <a:gd name="T24" fmla="*/ 2147483647 w 31"/>
                  <a:gd name="T25" fmla="*/ 2147483647 h 104"/>
                  <a:gd name="T26" fmla="*/ 0 w 31"/>
                  <a:gd name="T27" fmla="*/ 2147483647 h 104"/>
                  <a:gd name="T28" fmla="*/ 2147483647 w 31"/>
                  <a:gd name="T29" fmla="*/ 2147483647 h 104"/>
                  <a:gd name="T30" fmla="*/ 2147483647 w 31"/>
                  <a:gd name="T31" fmla="*/ 2147483647 h 104"/>
                  <a:gd name="T32" fmla="*/ 2147483647 w 31"/>
                  <a:gd name="T33" fmla="*/ 2147483647 h 104"/>
                  <a:gd name="T34" fmla="*/ 2147483647 w 31"/>
                  <a:gd name="T35" fmla="*/ 2147483647 h 10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1"/>
                  <a:gd name="T55" fmla="*/ 0 h 104"/>
                  <a:gd name="T56" fmla="*/ 31 w 31"/>
                  <a:gd name="T57" fmla="*/ 104 h 10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1" h="104">
                    <a:moveTo>
                      <a:pt x="14" y="98"/>
                    </a:moveTo>
                    <a:lnTo>
                      <a:pt x="24" y="98"/>
                    </a:lnTo>
                    <a:lnTo>
                      <a:pt x="31" y="75"/>
                    </a:lnTo>
                    <a:lnTo>
                      <a:pt x="28" y="66"/>
                    </a:lnTo>
                    <a:lnTo>
                      <a:pt x="22" y="52"/>
                    </a:lnTo>
                    <a:lnTo>
                      <a:pt x="24" y="20"/>
                    </a:lnTo>
                    <a:lnTo>
                      <a:pt x="19" y="2"/>
                    </a:lnTo>
                    <a:lnTo>
                      <a:pt x="7" y="0"/>
                    </a:lnTo>
                    <a:lnTo>
                      <a:pt x="8" y="16"/>
                    </a:lnTo>
                    <a:lnTo>
                      <a:pt x="3" y="20"/>
                    </a:lnTo>
                    <a:lnTo>
                      <a:pt x="3" y="35"/>
                    </a:lnTo>
                    <a:lnTo>
                      <a:pt x="5" y="41"/>
                    </a:lnTo>
                    <a:lnTo>
                      <a:pt x="3" y="46"/>
                    </a:lnTo>
                    <a:lnTo>
                      <a:pt x="0" y="73"/>
                    </a:lnTo>
                    <a:lnTo>
                      <a:pt x="3" y="79"/>
                    </a:lnTo>
                    <a:lnTo>
                      <a:pt x="3" y="94"/>
                    </a:lnTo>
                    <a:lnTo>
                      <a:pt x="11" y="104"/>
                    </a:lnTo>
                    <a:lnTo>
                      <a:pt x="14" y="98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59" name="Freeform 57"/>
              <p:cNvSpPr>
                <a:spLocks/>
              </p:cNvSpPr>
              <p:nvPr/>
            </p:nvSpPr>
            <p:spPr bwMode="gray">
              <a:xfrm>
                <a:off x="6937185" y="6121400"/>
                <a:ext cx="212725" cy="95250"/>
              </a:xfrm>
              <a:custGeom>
                <a:avLst/>
                <a:gdLst>
                  <a:gd name="T0" fmla="*/ 2147483647 w 44"/>
                  <a:gd name="T1" fmla="*/ 2147483647 h 36"/>
                  <a:gd name="T2" fmla="*/ 2147483647 w 44"/>
                  <a:gd name="T3" fmla="*/ 2147483647 h 36"/>
                  <a:gd name="T4" fmla="*/ 2147483647 w 44"/>
                  <a:gd name="T5" fmla="*/ 2147483647 h 36"/>
                  <a:gd name="T6" fmla="*/ 2147483647 w 44"/>
                  <a:gd name="T7" fmla="*/ 2147483647 h 36"/>
                  <a:gd name="T8" fmla="*/ 2147483647 w 44"/>
                  <a:gd name="T9" fmla="*/ 0 h 36"/>
                  <a:gd name="T10" fmla="*/ 0 w 44"/>
                  <a:gd name="T11" fmla="*/ 2147483647 h 36"/>
                  <a:gd name="T12" fmla="*/ 2147483647 w 44"/>
                  <a:gd name="T13" fmla="*/ 2147483647 h 36"/>
                  <a:gd name="T14" fmla="*/ 2147483647 w 44"/>
                  <a:gd name="T15" fmla="*/ 2147483647 h 36"/>
                  <a:gd name="T16" fmla="*/ 2147483647 w 44"/>
                  <a:gd name="T17" fmla="*/ 2147483647 h 36"/>
                  <a:gd name="T18" fmla="*/ 2147483647 w 44"/>
                  <a:gd name="T19" fmla="*/ 2147483647 h 36"/>
                  <a:gd name="T20" fmla="*/ 2147483647 w 44"/>
                  <a:gd name="T21" fmla="*/ 2147483647 h 36"/>
                  <a:gd name="T22" fmla="*/ 2147483647 w 44"/>
                  <a:gd name="T23" fmla="*/ 2147483647 h 36"/>
                  <a:gd name="T24" fmla="*/ 2147483647 w 44"/>
                  <a:gd name="T25" fmla="*/ 2147483647 h 36"/>
                  <a:gd name="T26" fmla="*/ 2147483647 w 44"/>
                  <a:gd name="T27" fmla="*/ 2147483647 h 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4"/>
                  <a:gd name="T43" fmla="*/ 0 h 36"/>
                  <a:gd name="T44" fmla="*/ 44 w 44"/>
                  <a:gd name="T45" fmla="*/ 36 h 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4" h="36">
                    <a:moveTo>
                      <a:pt x="44" y="15"/>
                    </a:moveTo>
                    <a:lnTo>
                      <a:pt x="36" y="15"/>
                    </a:lnTo>
                    <a:lnTo>
                      <a:pt x="31" y="7"/>
                    </a:lnTo>
                    <a:lnTo>
                      <a:pt x="13" y="7"/>
                    </a:lnTo>
                    <a:lnTo>
                      <a:pt x="8" y="0"/>
                    </a:lnTo>
                    <a:lnTo>
                      <a:pt x="0" y="7"/>
                    </a:lnTo>
                    <a:lnTo>
                      <a:pt x="2" y="21"/>
                    </a:lnTo>
                    <a:lnTo>
                      <a:pt x="8" y="17"/>
                    </a:lnTo>
                    <a:lnTo>
                      <a:pt x="17" y="36"/>
                    </a:lnTo>
                    <a:lnTo>
                      <a:pt x="26" y="36"/>
                    </a:lnTo>
                    <a:lnTo>
                      <a:pt x="33" y="23"/>
                    </a:lnTo>
                    <a:lnTo>
                      <a:pt x="40" y="23"/>
                    </a:lnTo>
                    <a:lnTo>
                      <a:pt x="44" y="19"/>
                    </a:lnTo>
                    <a:lnTo>
                      <a:pt x="44" y="15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0" name="Freeform 58"/>
              <p:cNvSpPr>
                <a:spLocks/>
              </p:cNvSpPr>
              <p:nvPr/>
            </p:nvSpPr>
            <p:spPr bwMode="gray">
              <a:xfrm>
                <a:off x="6763694" y="4881563"/>
                <a:ext cx="642938" cy="479425"/>
              </a:xfrm>
              <a:custGeom>
                <a:avLst/>
                <a:gdLst>
                  <a:gd name="T0" fmla="*/ 2147483647 w 133"/>
                  <a:gd name="T1" fmla="*/ 2147483647 h 178"/>
                  <a:gd name="T2" fmla="*/ 2147483647 w 133"/>
                  <a:gd name="T3" fmla="*/ 2147483647 h 178"/>
                  <a:gd name="T4" fmla="*/ 2147483647 w 133"/>
                  <a:gd name="T5" fmla="*/ 2147483647 h 178"/>
                  <a:gd name="T6" fmla="*/ 2147483647 w 133"/>
                  <a:gd name="T7" fmla="*/ 2147483647 h 178"/>
                  <a:gd name="T8" fmla="*/ 2147483647 w 133"/>
                  <a:gd name="T9" fmla="*/ 2147483647 h 178"/>
                  <a:gd name="T10" fmla="*/ 0 w 133"/>
                  <a:gd name="T11" fmla="*/ 2147483647 h 178"/>
                  <a:gd name="T12" fmla="*/ 2147483647 w 133"/>
                  <a:gd name="T13" fmla="*/ 2147483647 h 178"/>
                  <a:gd name="T14" fmla="*/ 2147483647 w 133"/>
                  <a:gd name="T15" fmla="*/ 2147483647 h 178"/>
                  <a:gd name="T16" fmla="*/ 2147483647 w 133"/>
                  <a:gd name="T17" fmla="*/ 2147483647 h 178"/>
                  <a:gd name="T18" fmla="*/ 2147483647 w 133"/>
                  <a:gd name="T19" fmla="*/ 2147483647 h 178"/>
                  <a:gd name="T20" fmla="*/ 2147483647 w 133"/>
                  <a:gd name="T21" fmla="*/ 2147483647 h 178"/>
                  <a:gd name="T22" fmla="*/ 2147483647 w 133"/>
                  <a:gd name="T23" fmla="*/ 2147483647 h 178"/>
                  <a:gd name="T24" fmla="*/ 2147483647 w 133"/>
                  <a:gd name="T25" fmla="*/ 2147483647 h 178"/>
                  <a:gd name="T26" fmla="*/ 2147483647 w 133"/>
                  <a:gd name="T27" fmla="*/ 2147483647 h 178"/>
                  <a:gd name="T28" fmla="*/ 2147483647 w 133"/>
                  <a:gd name="T29" fmla="*/ 2147483647 h 178"/>
                  <a:gd name="T30" fmla="*/ 2147483647 w 133"/>
                  <a:gd name="T31" fmla="*/ 2147483647 h 178"/>
                  <a:gd name="T32" fmla="*/ 2147483647 w 133"/>
                  <a:gd name="T33" fmla="*/ 2147483647 h 178"/>
                  <a:gd name="T34" fmla="*/ 2147483647 w 133"/>
                  <a:gd name="T35" fmla="*/ 2147483647 h 178"/>
                  <a:gd name="T36" fmla="*/ 2147483647 w 133"/>
                  <a:gd name="T37" fmla="*/ 2147483647 h 178"/>
                  <a:gd name="T38" fmla="*/ 2147483647 w 133"/>
                  <a:gd name="T39" fmla="*/ 2147483647 h 178"/>
                  <a:gd name="T40" fmla="*/ 2147483647 w 133"/>
                  <a:gd name="T41" fmla="*/ 2147483647 h 178"/>
                  <a:gd name="T42" fmla="*/ 2147483647 w 133"/>
                  <a:gd name="T43" fmla="*/ 2147483647 h 178"/>
                  <a:gd name="T44" fmla="*/ 2147483647 w 133"/>
                  <a:gd name="T45" fmla="*/ 2147483647 h 178"/>
                  <a:gd name="T46" fmla="*/ 2147483647 w 133"/>
                  <a:gd name="T47" fmla="*/ 2147483647 h 178"/>
                  <a:gd name="T48" fmla="*/ 2147483647 w 133"/>
                  <a:gd name="T49" fmla="*/ 2147483647 h 178"/>
                  <a:gd name="T50" fmla="*/ 2147483647 w 133"/>
                  <a:gd name="T51" fmla="*/ 2147483647 h 178"/>
                  <a:gd name="T52" fmla="*/ 2147483647 w 133"/>
                  <a:gd name="T53" fmla="*/ 2147483647 h 178"/>
                  <a:gd name="T54" fmla="*/ 2147483647 w 133"/>
                  <a:gd name="T55" fmla="*/ 2147483647 h 178"/>
                  <a:gd name="T56" fmla="*/ 2147483647 w 133"/>
                  <a:gd name="T57" fmla="*/ 2147483647 h 178"/>
                  <a:gd name="T58" fmla="*/ 2147483647 w 133"/>
                  <a:gd name="T59" fmla="*/ 2147483647 h 178"/>
                  <a:gd name="T60" fmla="*/ 2147483647 w 133"/>
                  <a:gd name="T61" fmla="*/ 2147483647 h 178"/>
                  <a:gd name="T62" fmla="*/ 2147483647 w 133"/>
                  <a:gd name="T63" fmla="*/ 2147483647 h 178"/>
                  <a:gd name="T64" fmla="*/ 2147483647 w 133"/>
                  <a:gd name="T65" fmla="*/ 2147483647 h 178"/>
                  <a:gd name="T66" fmla="*/ 2147483647 w 133"/>
                  <a:gd name="T67" fmla="*/ 0 h 178"/>
                  <a:gd name="T68" fmla="*/ 2147483647 w 133"/>
                  <a:gd name="T69" fmla="*/ 0 h 178"/>
                  <a:gd name="T70" fmla="*/ 2147483647 w 133"/>
                  <a:gd name="T71" fmla="*/ 2147483647 h 178"/>
                  <a:gd name="T72" fmla="*/ 2147483647 w 133"/>
                  <a:gd name="T73" fmla="*/ 2147483647 h 178"/>
                  <a:gd name="T74" fmla="*/ 2147483647 w 133"/>
                  <a:gd name="T75" fmla="*/ 2147483647 h 178"/>
                  <a:gd name="T76" fmla="*/ 2147483647 w 133"/>
                  <a:gd name="T77" fmla="*/ 2147483647 h 178"/>
                  <a:gd name="T78" fmla="*/ 2147483647 w 133"/>
                  <a:gd name="T79" fmla="*/ 2147483647 h 17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33"/>
                  <a:gd name="T121" fmla="*/ 0 h 178"/>
                  <a:gd name="T122" fmla="*/ 133 w 133"/>
                  <a:gd name="T123" fmla="*/ 178 h 17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33" h="178">
                    <a:moveTo>
                      <a:pt x="33" y="13"/>
                    </a:moveTo>
                    <a:lnTo>
                      <a:pt x="31" y="23"/>
                    </a:lnTo>
                    <a:lnTo>
                      <a:pt x="20" y="52"/>
                    </a:lnTo>
                    <a:lnTo>
                      <a:pt x="20" y="59"/>
                    </a:lnTo>
                    <a:lnTo>
                      <a:pt x="10" y="78"/>
                    </a:lnTo>
                    <a:lnTo>
                      <a:pt x="0" y="88"/>
                    </a:lnTo>
                    <a:lnTo>
                      <a:pt x="5" y="96"/>
                    </a:lnTo>
                    <a:lnTo>
                      <a:pt x="5" y="115"/>
                    </a:lnTo>
                    <a:lnTo>
                      <a:pt x="14" y="119"/>
                    </a:lnTo>
                    <a:lnTo>
                      <a:pt x="15" y="134"/>
                    </a:lnTo>
                    <a:lnTo>
                      <a:pt x="24" y="134"/>
                    </a:lnTo>
                    <a:lnTo>
                      <a:pt x="32" y="144"/>
                    </a:lnTo>
                    <a:lnTo>
                      <a:pt x="34" y="153"/>
                    </a:lnTo>
                    <a:lnTo>
                      <a:pt x="39" y="172"/>
                    </a:lnTo>
                    <a:lnTo>
                      <a:pt x="49" y="165"/>
                    </a:lnTo>
                    <a:lnTo>
                      <a:pt x="78" y="178"/>
                    </a:lnTo>
                    <a:lnTo>
                      <a:pt x="88" y="157"/>
                    </a:lnTo>
                    <a:lnTo>
                      <a:pt x="107" y="157"/>
                    </a:lnTo>
                    <a:lnTo>
                      <a:pt x="111" y="170"/>
                    </a:lnTo>
                    <a:lnTo>
                      <a:pt x="122" y="170"/>
                    </a:lnTo>
                    <a:lnTo>
                      <a:pt x="122" y="161"/>
                    </a:lnTo>
                    <a:lnTo>
                      <a:pt x="119" y="153"/>
                    </a:lnTo>
                    <a:lnTo>
                      <a:pt x="120" y="128"/>
                    </a:lnTo>
                    <a:lnTo>
                      <a:pt x="124" y="136"/>
                    </a:lnTo>
                    <a:lnTo>
                      <a:pt x="130" y="136"/>
                    </a:lnTo>
                    <a:lnTo>
                      <a:pt x="132" y="115"/>
                    </a:lnTo>
                    <a:lnTo>
                      <a:pt x="133" y="109"/>
                    </a:lnTo>
                    <a:lnTo>
                      <a:pt x="115" y="115"/>
                    </a:lnTo>
                    <a:lnTo>
                      <a:pt x="112" y="107"/>
                    </a:lnTo>
                    <a:lnTo>
                      <a:pt x="112" y="84"/>
                    </a:lnTo>
                    <a:lnTo>
                      <a:pt x="114" y="78"/>
                    </a:lnTo>
                    <a:lnTo>
                      <a:pt x="111" y="52"/>
                    </a:lnTo>
                    <a:lnTo>
                      <a:pt x="107" y="46"/>
                    </a:lnTo>
                    <a:lnTo>
                      <a:pt x="92" y="0"/>
                    </a:lnTo>
                    <a:lnTo>
                      <a:pt x="85" y="0"/>
                    </a:lnTo>
                    <a:lnTo>
                      <a:pt x="73" y="17"/>
                    </a:lnTo>
                    <a:lnTo>
                      <a:pt x="51" y="17"/>
                    </a:lnTo>
                    <a:lnTo>
                      <a:pt x="43" y="4"/>
                    </a:lnTo>
                    <a:lnTo>
                      <a:pt x="33" y="13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1" name="Freeform 59"/>
              <p:cNvSpPr>
                <a:spLocks/>
              </p:cNvSpPr>
              <p:nvPr/>
            </p:nvSpPr>
            <p:spPr bwMode="gray">
              <a:xfrm>
                <a:off x="6320782" y="4156075"/>
                <a:ext cx="714375" cy="671513"/>
              </a:xfrm>
              <a:custGeom>
                <a:avLst/>
                <a:gdLst>
                  <a:gd name="T0" fmla="*/ 2147483647 w 149"/>
                  <a:gd name="T1" fmla="*/ 2147483647 h 249"/>
                  <a:gd name="T2" fmla="*/ 2147483647 w 149"/>
                  <a:gd name="T3" fmla="*/ 2147483647 h 249"/>
                  <a:gd name="T4" fmla="*/ 2147483647 w 149"/>
                  <a:gd name="T5" fmla="*/ 2147483647 h 249"/>
                  <a:gd name="T6" fmla="*/ 2147483647 w 149"/>
                  <a:gd name="T7" fmla="*/ 2147483647 h 249"/>
                  <a:gd name="T8" fmla="*/ 2147483647 w 149"/>
                  <a:gd name="T9" fmla="*/ 2147483647 h 249"/>
                  <a:gd name="T10" fmla="*/ 2147483647 w 149"/>
                  <a:gd name="T11" fmla="*/ 2147483647 h 249"/>
                  <a:gd name="T12" fmla="*/ 2147483647 w 149"/>
                  <a:gd name="T13" fmla="*/ 2147483647 h 249"/>
                  <a:gd name="T14" fmla="*/ 2147483647 w 149"/>
                  <a:gd name="T15" fmla="*/ 2147483647 h 249"/>
                  <a:gd name="T16" fmla="*/ 2147483647 w 149"/>
                  <a:gd name="T17" fmla="*/ 2147483647 h 249"/>
                  <a:gd name="T18" fmla="*/ 2147483647 w 149"/>
                  <a:gd name="T19" fmla="*/ 2147483647 h 249"/>
                  <a:gd name="T20" fmla="*/ 2147483647 w 149"/>
                  <a:gd name="T21" fmla="*/ 2147483647 h 249"/>
                  <a:gd name="T22" fmla="*/ 2147483647 w 149"/>
                  <a:gd name="T23" fmla="*/ 2147483647 h 249"/>
                  <a:gd name="T24" fmla="*/ 2147483647 w 149"/>
                  <a:gd name="T25" fmla="*/ 2147483647 h 249"/>
                  <a:gd name="T26" fmla="*/ 2147483647 w 149"/>
                  <a:gd name="T27" fmla="*/ 2147483647 h 249"/>
                  <a:gd name="T28" fmla="*/ 2147483647 w 149"/>
                  <a:gd name="T29" fmla="*/ 2147483647 h 249"/>
                  <a:gd name="T30" fmla="*/ 2147483647 w 149"/>
                  <a:gd name="T31" fmla="*/ 2147483647 h 249"/>
                  <a:gd name="T32" fmla="*/ 2147483647 w 149"/>
                  <a:gd name="T33" fmla="*/ 0 h 249"/>
                  <a:gd name="T34" fmla="*/ 2147483647 w 149"/>
                  <a:gd name="T35" fmla="*/ 0 h 249"/>
                  <a:gd name="T36" fmla="*/ 2147483647 w 149"/>
                  <a:gd name="T37" fmla="*/ 2147483647 h 249"/>
                  <a:gd name="T38" fmla="*/ 2147483647 w 149"/>
                  <a:gd name="T39" fmla="*/ 2147483647 h 249"/>
                  <a:gd name="T40" fmla="*/ 2147483647 w 149"/>
                  <a:gd name="T41" fmla="*/ 2147483647 h 249"/>
                  <a:gd name="T42" fmla="*/ 2147483647 w 149"/>
                  <a:gd name="T43" fmla="*/ 2147483647 h 249"/>
                  <a:gd name="T44" fmla="*/ 0 w 149"/>
                  <a:gd name="T45" fmla="*/ 2147483647 h 249"/>
                  <a:gd name="T46" fmla="*/ 2147483647 w 149"/>
                  <a:gd name="T47" fmla="*/ 2147483647 h 249"/>
                  <a:gd name="T48" fmla="*/ 2147483647 w 149"/>
                  <a:gd name="T49" fmla="*/ 2147483647 h 249"/>
                  <a:gd name="T50" fmla="*/ 2147483647 w 149"/>
                  <a:gd name="T51" fmla="*/ 2147483647 h 249"/>
                  <a:gd name="T52" fmla="*/ 2147483647 w 149"/>
                  <a:gd name="T53" fmla="*/ 2147483647 h 249"/>
                  <a:gd name="T54" fmla="*/ 2147483647 w 149"/>
                  <a:gd name="T55" fmla="*/ 2147483647 h 249"/>
                  <a:gd name="T56" fmla="*/ 2147483647 w 149"/>
                  <a:gd name="T57" fmla="*/ 2147483647 h 249"/>
                  <a:gd name="T58" fmla="*/ 2147483647 w 149"/>
                  <a:gd name="T59" fmla="*/ 2147483647 h 249"/>
                  <a:gd name="T60" fmla="*/ 2147483647 w 149"/>
                  <a:gd name="T61" fmla="*/ 2147483647 h 249"/>
                  <a:gd name="T62" fmla="*/ 2147483647 w 149"/>
                  <a:gd name="T63" fmla="*/ 2147483647 h 249"/>
                  <a:gd name="T64" fmla="*/ 2147483647 w 149"/>
                  <a:gd name="T65" fmla="*/ 2147483647 h 249"/>
                  <a:gd name="T66" fmla="*/ 2147483647 w 149"/>
                  <a:gd name="T67" fmla="*/ 2147483647 h 249"/>
                  <a:gd name="T68" fmla="*/ 2147483647 w 149"/>
                  <a:gd name="T69" fmla="*/ 2147483647 h 249"/>
                  <a:gd name="T70" fmla="*/ 2147483647 w 149"/>
                  <a:gd name="T71" fmla="*/ 2147483647 h 249"/>
                  <a:gd name="T72" fmla="*/ 2147483647 w 149"/>
                  <a:gd name="T73" fmla="*/ 2147483647 h 249"/>
                  <a:gd name="T74" fmla="*/ 2147483647 w 149"/>
                  <a:gd name="T75" fmla="*/ 2147483647 h 249"/>
                  <a:gd name="T76" fmla="*/ 2147483647 w 149"/>
                  <a:gd name="T77" fmla="*/ 2147483647 h 249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49"/>
                  <a:gd name="T118" fmla="*/ 0 h 249"/>
                  <a:gd name="T119" fmla="*/ 149 w 149"/>
                  <a:gd name="T120" fmla="*/ 249 h 249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49" h="249">
                    <a:moveTo>
                      <a:pt x="124" y="249"/>
                    </a:moveTo>
                    <a:lnTo>
                      <a:pt x="124" y="243"/>
                    </a:lnTo>
                    <a:lnTo>
                      <a:pt x="123" y="222"/>
                    </a:lnTo>
                    <a:lnTo>
                      <a:pt x="134" y="215"/>
                    </a:lnTo>
                    <a:lnTo>
                      <a:pt x="134" y="192"/>
                    </a:lnTo>
                    <a:lnTo>
                      <a:pt x="148" y="197"/>
                    </a:lnTo>
                    <a:lnTo>
                      <a:pt x="149" y="184"/>
                    </a:lnTo>
                    <a:lnTo>
                      <a:pt x="145" y="167"/>
                    </a:lnTo>
                    <a:lnTo>
                      <a:pt x="136" y="125"/>
                    </a:lnTo>
                    <a:lnTo>
                      <a:pt x="136" y="62"/>
                    </a:lnTo>
                    <a:lnTo>
                      <a:pt x="136" y="46"/>
                    </a:lnTo>
                    <a:lnTo>
                      <a:pt x="123" y="23"/>
                    </a:lnTo>
                    <a:lnTo>
                      <a:pt x="97" y="21"/>
                    </a:lnTo>
                    <a:lnTo>
                      <a:pt x="83" y="12"/>
                    </a:lnTo>
                    <a:lnTo>
                      <a:pt x="78" y="19"/>
                    </a:lnTo>
                    <a:lnTo>
                      <a:pt x="64" y="16"/>
                    </a:lnTo>
                    <a:lnTo>
                      <a:pt x="64" y="0"/>
                    </a:lnTo>
                    <a:lnTo>
                      <a:pt x="56" y="0"/>
                    </a:lnTo>
                    <a:lnTo>
                      <a:pt x="25" y="8"/>
                    </a:lnTo>
                    <a:lnTo>
                      <a:pt x="6" y="48"/>
                    </a:lnTo>
                    <a:lnTo>
                      <a:pt x="1" y="50"/>
                    </a:lnTo>
                    <a:lnTo>
                      <a:pt x="4" y="58"/>
                    </a:lnTo>
                    <a:lnTo>
                      <a:pt x="0" y="92"/>
                    </a:lnTo>
                    <a:lnTo>
                      <a:pt x="12" y="115"/>
                    </a:lnTo>
                    <a:lnTo>
                      <a:pt x="13" y="144"/>
                    </a:lnTo>
                    <a:lnTo>
                      <a:pt x="16" y="163"/>
                    </a:lnTo>
                    <a:lnTo>
                      <a:pt x="21" y="171"/>
                    </a:lnTo>
                    <a:lnTo>
                      <a:pt x="31" y="173"/>
                    </a:lnTo>
                    <a:lnTo>
                      <a:pt x="32" y="182"/>
                    </a:lnTo>
                    <a:lnTo>
                      <a:pt x="36" y="190"/>
                    </a:lnTo>
                    <a:lnTo>
                      <a:pt x="51" y="188"/>
                    </a:lnTo>
                    <a:lnTo>
                      <a:pt x="61" y="203"/>
                    </a:lnTo>
                    <a:lnTo>
                      <a:pt x="65" y="220"/>
                    </a:lnTo>
                    <a:lnTo>
                      <a:pt x="76" y="219"/>
                    </a:lnTo>
                    <a:lnTo>
                      <a:pt x="79" y="232"/>
                    </a:lnTo>
                    <a:lnTo>
                      <a:pt x="84" y="234"/>
                    </a:lnTo>
                    <a:lnTo>
                      <a:pt x="92" y="224"/>
                    </a:lnTo>
                    <a:lnTo>
                      <a:pt x="119" y="232"/>
                    </a:lnTo>
                    <a:lnTo>
                      <a:pt x="124" y="249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256500" tIns="35100" rIns="67500" bIns="35100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0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2" name="Freeform 60"/>
              <p:cNvSpPr>
                <a:spLocks/>
              </p:cNvSpPr>
              <p:nvPr/>
            </p:nvSpPr>
            <p:spPr bwMode="gray">
              <a:xfrm>
                <a:off x="6179494" y="4595813"/>
                <a:ext cx="733425" cy="328612"/>
              </a:xfrm>
              <a:custGeom>
                <a:avLst/>
                <a:gdLst>
                  <a:gd name="T0" fmla="*/ 2147483647 w 152"/>
                  <a:gd name="T1" fmla="*/ 0 h 120"/>
                  <a:gd name="T2" fmla="*/ 2147483647 w 152"/>
                  <a:gd name="T3" fmla="*/ 2147483647 h 120"/>
                  <a:gd name="T4" fmla="*/ 2147483647 w 152"/>
                  <a:gd name="T5" fmla="*/ 2147483647 h 120"/>
                  <a:gd name="T6" fmla="*/ 2147483647 w 152"/>
                  <a:gd name="T7" fmla="*/ 2147483647 h 120"/>
                  <a:gd name="T8" fmla="*/ 2147483647 w 152"/>
                  <a:gd name="T9" fmla="*/ 2147483647 h 120"/>
                  <a:gd name="T10" fmla="*/ 2147483647 w 152"/>
                  <a:gd name="T11" fmla="*/ 2147483647 h 120"/>
                  <a:gd name="T12" fmla="*/ 2147483647 w 152"/>
                  <a:gd name="T13" fmla="*/ 2147483647 h 120"/>
                  <a:gd name="T14" fmla="*/ 2147483647 w 152"/>
                  <a:gd name="T15" fmla="*/ 2147483647 h 120"/>
                  <a:gd name="T16" fmla="*/ 2147483647 w 152"/>
                  <a:gd name="T17" fmla="*/ 2147483647 h 120"/>
                  <a:gd name="T18" fmla="*/ 2147483647 w 152"/>
                  <a:gd name="T19" fmla="*/ 2147483647 h 120"/>
                  <a:gd name="T20" fmla="*/ 2147483647 w 152"/>
                  <a:gd name="T21" fmla="*/ 2147483647 h 120"/>
                  <a:gd name="T22" fmla="*/ 2147483647 w 152"/>
                  <a:gd name="T23" fmla="*/ 2147483647 h 120"/>
                  <a:gd name="T24" fmla="*/ 2147483647 w 152"/>
                  <a:gd name="T25" fmla="*/ 2147483647 h 120"/>
                  <a:gd name="T26" fmla="*/ 2147483647 w 152"/>
                  <a:gd name="T27" fmla="*/ 2147483647 h 120"/>
                  <a:gd name="T28" fmla="*/ 2147483647 w 152"/>
                  <a:gd name="T29" fmla="*/ 2147483647 h 120"/>
                  <a:gd name="T30" fmla="*/ 2147483647 w 152"/>
                  <a:gd name="T31" fmla="*/ 2147483647 h 120"/>
                  <a:gd name="T32" fmla="*/ 2147483647 w 152"/>
                  <a:gd name="T33" fmla="*/ 2147483647 h 120"/>
                  <a:gd name="T34" fmla="*/ 2147483647 w 152"/>
                  <a:gd name="T35" fmla="*/ 2147483647 h 120"/>
                  <a:gd name="T36" fmla="*/ 2147483647 w 152"/>
                  <a:gd name="T37" fmla="*/ 2147483647 h 120"/>
                  <a:gd name="T38" fmla="*/ 2147483647 w 152"/>
                  <a:gd name="T39" fmla="*/ 2147483647 h 120"/>
                  <a:gd name="T40" fmla="*/ 2147483647 w 152"/>
                  <a:gd name="T41" fmla="*/ 2147483647 h 120"/>
                  <a:gd name="T42" fmla="*/ 2147483647 w 152"/>
                  <a:gd name="T43" fmla="*/ 2147483647 h 120"/>
                  <a:gd name="T44" fmla="*/ 2147483647 w 152"/>
                  <a:gd name="T45" fmla="*/ 2147483647 h 120"/>
                  <a:gd name="T46" fmla="*/ 2147483647 w 152"/>
                  <a:gd name="T47" fmla="*/ 2147483647 h 120"/>
                  <a:gd name="T48" fmla="*/ 2147483647 w 152"/>
                  <a:gd name="T49" fmla="*/ 2147483647 h 120"/>
                  <a:gd name="T50" fmla="*/ 2147483647 w 152"/>
                  <a:gd name="T51" fmla="*/ 2147483647 h 120"/>
                  <a:gd name="T52" fmla="*/ 2147483647 w 152"/>
                  <a:gd name="T53" fmla="*/ 2147483647 h 120"/>
                  <a:gd name="T54" fmla="*/ 2147483647 w 152"/>
                  <a:gd name="T55" fmla="*/ 2147483647 h 120"/>
                  <a:gd name="T56" fmla="*/ 2147483647 w 152"/>
                  <a:gd name="T57" fmla="*/ 2147483647 h 120"/>
                  <a:gd name="T58" fmla="*/ 2147483647 w 152"/>
                  <a:gd name="T59" fmla="*/ 2147483647 h 120"/>
                  <a:gd name="T60" fmla="*/ 2147483647 w 152"/>
                  <a:gd name="T61" fmla="*/ 2147483647 h 120"/>
                  <a:gd name="T62" fmla="*/ 0 w 152"/>
                  <a:gd name="T63" fmla="*/ 2147483647 h 120"/>
                  <a:gd name="T64" fmla="*/ 0 w 152"/>
                  <a:gd name="T65" fmla="*/ 2147483647 h 120"/>
                  <a:gd name="T66" fmla="*/ 2147483647 w 152"/>
                  <a:gd name="T67" fmla="*/ 2147483647 h 120"/>
                  <a:gd name="T68" fmla="*/ 2147483647 w 152"/>
                  <a:gd name="T69" fmla="*/ 0 h 12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52"/>
                  <a:gd name="T106" fmla="*/ 0 h 120"/>
                  <a:gd name="T107" fmla="*/ 152 w 152"/>
                  <a:gd name="T108" fmla="*/ 120 h 12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52" h="120">
                    <a:moveTo>
                      <a:pt x="44" y="0"/>
                    </a:moveTo>
                    <a:lnTo>
                      <a:pt x="48" y="7"/>
                    </a:lnTo>
                    <a:lnTo>
                      <a:pt x="59" y="9"/>
                    </a:lnTo>
                    <a:lnTo>
                      <a:pt x="60" y="19"/>
                    </a:lnTo>
                    <a:lnTo>
                      <a:pt x="64" y="27"/>
                    </a:lnTo>
                    <a:lnTo>
                      <a:pt x="79" y="25"/>
                    </a:lnTo>
                    <a:lnTo>
                      <a:pt x="90" y="38"/>
                    </a:lnTo>
                    <a:lnTo>
                      <a:pt x="93" y="55"/>
                    </a:lnTo>
                    <a:lnTo>
                      <a:pt x="104" y="53"/>
                    </a:lnTo>
                    <a:lnTo>
                      <a:pt x="107" y="69"/>
                    </a:lnTo>
                    <a:lnTo>
                      <a:pt x="112" y="69"/>
                    </a:lnTo>
                    <a:lnTo>
                      <a:pt x="120" y="59"/>
                    </a:lnTo>
                    <a:lnTo>
                      <a:pt x="147" y="69"/>
                    </a:lnTo>
                    <a:lnTo>
                      <a:pt x="152" y="84"/>
                    </a:lnTo>
                    <a:lnTo>
                      <a:pt x="146" y="97"/>
                    </a:lnTo>
                    <a:lnTo>
                      <a:pt x="149" y="113"/>
                    </a:lnTo>
                    <a:lnTo>
                      <a:pt x="138" y="113"/>
                    </a:lnTo>
                    <a:lnTo>
                      <a:pt x="136" y="103"/>
                    </a:lnTo>
                    <a:lnTo>
                      <a:pt x="124" y="105"/>
                    </a:lnTo>
                    <a:lnTo>
                      <a:pt x="113" y="115"/>
                    </a:lnTo>
                    <a:lnTo>
                      <a:pt x="92" y="120"/>
                    </a:lnTo>
                    <a:lnTo>
                      <a:pt x="75" y="119"/>
                    </a:lnTo>
                    <a:lnTo>
                      <a:pt x="63" y="96"/>
                    </a:lnTo>
                    <a:lnTo>
                      <a:pt x="52" y="94"/>
                    </a:lnTo>
                    <a:lnTo>
                      <a:pt x="44" y="86"/>
                    </a:lnTo>
                    <a:lnTo>
                      <a:pt x="39" y="84"/>
                    </a:lnTo>
                    <a:lnTo>
                      <a:pt x="34" y="94"/>
                    </a:lnTo>
                    <a:lnTo>
                      <a:pt x="26" y="94"/>
                    </a:lnTo>
                    <a:lnTo>
                      <a:pt x="26" y="80"/>
                    </a:lnTo>
                    <a:lnTo>
                      <a:pt x="5" y="63"/>
                    </a:lnTo>
                    <a:lnTo>
                      <a:pt x="3" y="38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33" y="13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3" name="Freeform 61"/>
              <p:cNvSpPr>
                <a:spLocks/>
              </p:cNvSpPr>
              <p:nvPr/>
            </p:nvSpPr>
            <p:spPr bwMode="gray">
              <a:xfrm>
                <a:off x="6471594" y="4873625"/>
                <a:ext cx="449263" cy="276225"/>
              </a:xfrm>
              <a:custGeom>
                <a:avLst/>
                <a:gdLst>
                  <a:gd name="T0" fmla="*/ 2147483647 w 93"/>
                  <a:gd name="T1" fmla="*/ 2147483647 h 102"/>
                  <a:gd name="T2" fmla="*/ 2147483647 w 93"/>
                  <a:gd name="T3" fmla="*/ 2147483647 h 102"/>
                  <a:gd name="T4" fmla="*/ 2147483647 w 93"/>
                  <a:gd name="T5" fmla="*/ 2147483647 h 102"/>
                  <a:gd name="T6" fmla="*/ 2147483647 w 93"/>
                  <a:gd name="T7" fmla="*/ 2147483647 h 102"/>
                  <a:gd name="T8" fmla="*/ 2147483647 w 93"/>
                  <a:gd name="T9" fmla="*/ 2147483647 h 102"/>
                  <a:gd name="T10" fmla="*/ 2147483647 w 93"/>
                  <a:gd name="T11" fmla="*/ 2147483647 h 102"/>
                  <a:gd name="T12" fmla="*/ 2147483647 w 93"/>
                  <a:gd name="T13" fmla="*/ 2147483647 h 102"/>
                  <a:gd name="T14" fmla="*/ 2147483647 w 93"/>
                  <a:gd name="T15" fmla="*/ 2147483647 h 102"/>
                  <a:gd name="T16" fmla="*/ 2147483647 w 93"/>
                  <a:gd name="T17" fmla="*/ 2147483647 h 102"/>
                  <a:gd name="T18" fmla="*/ 2147483647 w 93"/>
                  <a:gd name="T19" fmla="*/ 2147483647 h 102"/>
                  <a:gd name="T20" fmla="*/ 2147483647 w 93"/>
                  <a:gd name="T21" fmla="*/ 2147483647 h 102"/>
                  <a:gd name="T22" fmla="*/ 2147483647 w 93"/>
                  <a:gd name="T23" fmla="*/ 2147483647 h 102"/>
                  <a:gd name="T24" fmla="*/ 2147483647 w 93"/>
                  <a:gd name="T25" fmla="*/ 2147483647 h 102"/>
                  <a:gd name="T26" fmla="*/ 0 w 93"/>
                  <a:gd name="T27" fmla="*/ 2147483647 h 102"/>
                  <a:gd name="T28" fmla="*/ 2147483647 w 93"/>
                  <a:gd name="T29" fmla="*/ 2147483647 h 102"/>
                  <a:gd name="T30" fmla="*/ 2147483647 w 93"/>
                  <a:gd name="T31" fmla="*/ 2147483647 h 102"/>
                  <a:gd name="T32" fmla="*/ 2147483647 w 93"/>
                  <a:gd name="T33" fmla="*/ 2147483647 h 102"/>
                  <a:gd name="T34" fmla="*/ 2147483647 w 93"/>
                  <a:gd name="T35" fmla="*/ 2147483647 h 102"/>
                  <a:gd name="T36" fmla="*/ 2147483647 w 93"/>
                  <a:gd name="T37" fmla="*/ 2147483647 h 102"/>
                  <a:gd name="T38" fmla="*/ 2147483647 w 93"/>
                  <a:gd name="T39" fmla="*/ 2147483647 h 102"/>
                  <a:gd name="T40" fmla="*/ 2147483647 w 93"/>
                  <a:gd name="T41" fmla="*/ 2147483647 h 102"/>
                  <a:gd name="T42" fmla="*/ 2147483647 w 93"/>
                  <a:gd name="T43" fmla="*/ 2147483647 h 102"/>
                  <a:gd name="T44" fmla="*/ 2147483647 w 93"/>
                  <a:gd name="T45" fmla="*/ 0 h 102"/>
                  <a:gd name="T46" fmla="*/ 2147483647 w 93"/>
                  <a:gd name="T47" fmla="*/ 2147483647 h 102"/>
                  <a:gd name="T48" fmla="*/ 2147483647 w 93"/>
                  <a:gd name="T49" fmla="*/ 2147483647 h 10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93"/>
                  <a:gd name="T76" fmla="*/ 0 h 102"/>
                  <a:gd name="T77" fmla="*/ 93 w 93"/>
                  <a:gd name="T78" fmla="*/ 102 h 10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93" h="102">
                    <a:moveTo>
                      <a:pt x="87" y="8"/>
                    </a:moveTo>
                    <a:lnTo>
                      <a:pt x="93" y="19"/>
                    </a:lnTo>
                    <a:lnTo>
                      <a:pt x="91" y="31"/>
                    </a:lnTo>
                    <a:lnTo>
                      <a:pt x="80" y="58"/>
                    </a:lnTo>
                    <a:lnTo>
                      <a:pt x="80" y="65"/>
                    </a:lnTo>
                    <a:lnTo>
                      <a:pt x="71" y="84"/>
                    </a:lnTo>
                    <a:lnTo>
                      <a:pt x="60" y="94"/>
                    </a:lnTo>
                    <a:lnTo>
                      <a:pt x="49" y="92"/>
                    </a:lnTo>
                    <a:lnTo>
                      <a:pt x="43" y="102"/>
                    </a:lnTo>
                    <a:lnTo>
                      <a:pt x="18" y="100"/>
                    </a:lnTo>
                    <a:lnTo>
                      <a:pt x="1" y="75"/>
                    </a:lnTo>
                    <a:lnTo>
                      <a:pt x="6" y="63"/>
                    </a:lnTo>
                    <a:lnTo>
                      <a:pt x="5" y="60"/>
                    </a:lnTo>
                    <a:lnTo>
                      <a:pt x="0" y="54"/>
                    </a:lnTo>
                    <a:lnTo>
                      <a:pt x="3" y="44"/>
                    </a:lnTo>
                    <a:lnTo>
                      <a:pt x="3" y="33"/>
                    </a:lnTo>
                    <a:lnTo>
                      <a:pt x="5" y="29"/>
                    </a:lnTo>
                    <a:lnTo>
                      <a:pt x="13" y="29"/>
                    </a:lnTo>
                    <a:lnTo>
                      <a:pt x="13" y="16"/>
                    </a:lnTo>
                    <a:lnTo>
                      <a:pt x="30" y="17"/>
                    </a:lnTo>
                    <a:lnTo>
                      <a:pt x="52" y="12"/>
                    </a:lnTo>
                    <a:lnTo>
                      <a:pt x="63" y="2"/>
                    </a:lnTo>
                    <a:lnTo>
                      <a:pt x="75" y="0"/>
                    </a:lnTo>
                    <a:lnTo>
                      <a:pt x="77" y="8"/>
                    </a:lnTo>
                    <a:lnTo>
                      <a:pt x="87" y="8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4" name="Freeform 62"/>
              <p:cNvSpPr>
                <a:spLocks/>
              </p:cNvSpPr>
              <p:nvPr/>
            </p:nvSpPr>
            <p:spPr bwMode="gray">
              <a:xfrm>
                <a:off x="6730357" y="5549900"/>
                <a:ext cx="484187" cy="503238"/>
              </a:xfrm>
              <a:custGeom>
                <a:avLst/>
                <a:gdLst>
                  <a:gd name="T0" fmla="*/ 2147483647 w 101"/>
                  <a:gd name="T1" fmla="*/ 2147483647 h 188"/>
                  <a:gd name="T2" fmla="*/ 2147483647 w 101"/>
                  <a:gd name="T3" fmla="*/ 2147483647 h 188"/>
                  <a:gd name="T4" fmla="*/ 2147483647 w 101"/>
                  <a:gd name="T5" fmla="*/ 2147483647 h 188"/>
                  <a:gd name="T6" fmla="*/ 2147483647 w 101"/>
                  <a:gd name="T7" fmla="*/ 2147483647 h 188"/>
                  <a:gd name="T8" fmla="*/ 2147483647 w 101"/>
                  <a:gd name="T9" fmla="*/ 2147483647 h 188"/>
                  <a:gd name="T10" fmla="*/ 2147483647 w 101"/>
                  <a:gd name="T11" fmla="*/ 2147483647 h 188"/>
                  <a:gd name="T12" fmla="*/ 2147483647 w 101"/>
                  <a:gd name="T13" fmla="*/ 2147483647 h 188"/>
                  <a:gd name="T14" fmla="*/ 2147483647 w 101"/>
                  <a:gd name="T15" fmla="*/ 2147483647 h 188"/>
                  <a:gd name="T16" fmla="*/ 2147483647 w 101"/>
                  <a:gd name="T17" fmla="*/ 2147483647 h 188"/>
                  <a:gd name="T18" fmla="*/ 2147483647 w 101"/>
                  <a:gd name="T19" fmla="*/ 2147483647 h 188"/>
                  <a:gd name="T20" fmla="*/ 2147483647 w 101"/>
                  <a:gd name="T21" fmla="*/ 2147483647 h 188"/>
                  <a:gd name="T22" fmla="*/ 2147483647 w 101"/>
                  <a:gd name="T23" fmla="*/ 2147483647 h 188"/>
                  <a:gd name="T24" fmla="*/ 2147483647 w 101"/>
                  <a:gd name="T25" fmla="*/ 2147483647 h 188"/>
                  <a:gd name="T26" fmla="*/ 2147483647 w 101"/>
                  <a:gd name="T27" fmla="*/ 2147483647 h 188"/>
                  <a:gd name="T28" fmla="*/ 2147483647 w 101"/>
                  <a:gd name="T29" fmla="*/ 2147483647 h 188"/>
                  <a:gd name="T30" fmla="*/ 2147483647 w 101"/>
                  <a:gd name="T31" fmla="*/ 2147483647 h 188"/>
                  <a:gd name="T32" fmla="*/ 2147483647 w 101"/>
                  <a:gd name="T33" fmla="*/ 2147483647 h 188"/>
                  <a:gd name="T34" fmla="*/ 2147483647 w 101"/>
                  <a:gd name="T35" fmla="*/ 2147483647 h 188"/>
                  <a:gd name="T36" fmla="*/ 2147483647 w 101"/>
                  <a:gd name="T37" fmla="*/ 2147483647 h 188"/>
                  <a:gd name="T38" fmla="*/ 2147483647 w 101"/>
                  <a:gd name="T39" fmla="*/ 2147483647 h 188"/>
                  <a:gd name="T40" fmla="*/ 2147483647 w 101"/>
                  <a:gd name="T41" fmla="*/ 2147483647 h 188"/>
                  <a:gd name="T42" fmla="*/ 2147483647 w 101"/>
                  <a:gd name="T43" fmla="*/ 2147483647 h 188"/>
                  <a:gd name="T44" fmla="*/ 2147483647 w 101"/>
                  <a:gd name="T45" fmla="*/ 2147483647 h 188"/>
                  <a:gd name="T46" fmla="*/ 2147483647 w 101"/>
                  <a:gd name="T47" fmla="*/ 2147483647 h 188"/>
                  <a:gd name="T48" fmla="*/ 2147483647 w 101"/>
                  <a:gd name="T49" fmla="*/ 2147483647 h 188"/>
                  <a:gd name="T50" fmla="*/ 0 w 101"/>
                  <a:gd name="T51" fmla="*/ 2147483647 h 188"/>
                  <a:gd name="T52" fmla="*/ 2147483647 w 101"/>
                  <a:gd name="T53" fmla="*/ 2147483647 h 188"/>
                  <a:gd name="T54" fmla="*/ 2147483647 w 101"/>
                  <a:gd name="T55" fmla="*/ 2147483647 h 188"/>
                  <a:gd name="T56" fmla="*/ 2147483647 w 101"/>
                  <a:gd name="T57" fmla="*/ 2147483647 h 188"/>
                  <a:gd name="T58" fmla="*/ 2147483647 w 101"/>
                  <a:gd name="T59" fmla="*/ 2147483647 h 188"/>
                  <a:gd name="T60" fmla="*/ 2147483647 w 101"/>
                  <a:gd name="T61" fmla="*/ 2147483647 h 188"/>
                  <a:gd name="T62" fmla="*/ 2147483647 w 101"/>
                  <a:gd name="T63" fmla="*/ 2147483647 h 188"/>
                  <a:gd name="T64" fmla="*/ 2147483647 w 101"/>
                  <a:gd name="T65" fmla="*/ 2147483647 h 188"/>
                  <a:gd name="T66" fmla="*/ 2147483647 w 101"/>
                  <a:gd name="T67" fmla="*/ 0 h 18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1"/>
                  <a:gd name="T103" fmla="*/ 0 h 188"/>
                  <a:gd name="T104" fmla="*/ 101 w 101"/>
                  <a:gd name="T105" fmla="*/ 188 h 18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1" h="188">
                    <a:moveTo>
                      <a:pt x="96" y="0"/>
                    </a:moveTo>
                    <a:lnTo>
                      <a:pt x="101" y="9"/>
                    </a:lnTo>
                    <a:lnTo>
                      <a:pt x="93" y="19"/>
                    </a:lnTo>
                    <a:lnTo>
                      <a:pt x="93" y="32"/>
                    </a:lnTo>
                    <a:lnTo>
                      <a:pt x="84" y="44"/>
                    </a:lnTo>
                    <a:lnTo>
                      <a:pt x="80" y="42"/>
                    </a:lnTo>
                    <a:lnTo>
                      <a:pt x="74" y="32"/>
                    </a:lnTo>
                    <a:lnTo>
                      <a:pt x="61" y="32"/>
                    </a:lnTo>
                    <a:lnTo>
                      <a:pt x="58" y="44"/>
                    </a:lnTo>
                    <a:lnTo>
                      <a:pt x="61" y="57"/>
                    </a:lnTo>
                    <a:lnTo>
                      <a:pt x="56" y="67"/>
                    </a:lnTo>
                    <a:lnTo>
                      <a:pt x="45" y="59"/>
                    </a:lnTo>
                    <a:lnTo>
                      <a:pt x="44" y="42"/>
                    </a:lnTo>
                    <a:lnTo>
                      <a:pt x="38" y="50"/>
                    </a:lnTo>
                    <a:lnTo>
                      <a:pt x="40" y="67"/>
                    </a:lnTo>
                    <a:lnTo>
                      <a:pt x="56" y="76"/>
                    </a:lnTo>
                    <a:lnTo>
                      <a:pt x="57" y="94"/>
                    </a:lnTo>
                    <a:lnTo>
                      <a:pt x="50" y="94"/>
                    </a:lnTo>
                    <a:lnTo>
                      <a:pt x="61" y="105"/>
                    </a:lnTo>
                    <a:lnTo>
                      <a:pt x="62" y="111"/>
                    </a:lnTo>
                    <a:lnTo>
                      <a:pt x="69" y="138"/>
                    </a:lnTo>
                    <a:lnTo>
                      <a:pt x="65" y="140"/>
                    </a:lnTo>
                    <a:lnTo>
                      <a:pt x="60" y="119"/>
                    </a:lnTo>
                    <a:lnTo>
                      <a:pt x="47" y="99"/>
                    </a:lnTo>
                    <a:lnTo>
                      <a:pt x="41" y="99"/>
                    </a:lnTo>
                    <a:lnTo>
                      <a:pt x="49" y="119"/>
                    </a:lnTo>
                    <a:lnTo>
                      <a:pt x="57" y="119"/>
                    </a:lnTo>
                    <a:lnTo>
                      <a:pt x="63" y="145"/>
                    </a:lnTo>
                    <a:lnTo>
                      <a:pt x="49" y="145"/>
                    </a:lnTo>
                    <a:lnTo>
                      <a:pt x="49" y="151"/>
                    </a:lnTo>
                    <a:lnTo>
                      <a:pt x="42" y="149"/>
                    </a:lnTo>
                    <a:lnTo>
                      <a:pt x="43" y="161"/>
                    </a:lnTo>
                    <a:lnTo>
                      <a:pt x="46" y="168"/>
                    </a:lnTo>
                    <a:lnTo>
                      <a:pt x="47" y="182"/>
                    </a:lnTo>
                    <a:lnTo>
                      <a:pt x="43" y="178"/>
                    </a:lnTo>
                    <a:lnTo>
                      <a:pt x="40" y="188"/>
                    </a:lnTo>
                    <a:lnTo>
                      <a:pt x="33" y="161"/>
                    </a:lnTo>
                    <a:lnTo>
                      <a:pt x="32" y="157"/>
                    </a:lnTo>
                    <a:lnTo>
                      <a:pt x="30" y="176"/>
                    </a:lnTo>
                    <a:lnTo>
                      <a:pt x="25" y="172"/>
                    </a:lnTo>
                    <a:lnTo>
                      <a:pt x="24" y="153"/>
                    </a:lnTo>
                    <a:lnTo>
                      <a:pt x="19" y="140"/>
                    </a:lnTo>
                    <a:lnTo>
                      <a:pt x="16" y="136"/>
                    </a:lnTo>
                    <a:lnTo>
                      <a:pt x="17" y="124"/>
                    </a:lnTo>
                    <a:lnTo>
                      <a:pt x="35" y="130"/>
                    </a:lnTo>
                    <a:lnTo>
                      <a:pt x="38" y="138"/>
                    </a:lnTo>
                    <a:lnTo>
                      <a:pt x="47" y="124"/>
                    </a:lnTo>
                    <a:lnTo>
                      <a:pt x="37" y="122"/>
                    </a:lnTo>
                    <a:lnTo>
                      <a:pt x="14" y="115"/>
                    </a:lnTo>
                    <a:lnTo>
                      <a:pt x="6" y="92"/>
                    </a:lnTo>
                    <a:lnTo>
                      <a:pt x="2" y="92"/>
                    </a:lnTo>
                    <a:lnTo>
                      <a:pt x="0" y="69"/>
                    </a:lnTo>
                    <a:lnTo>
                      <a:pt x="3" y="61"/>
                    </a:lnTo>
                    <a:lnTo>
                      <a:pt x="13" y="61"/>
                    </a:lnTo>
                    <a:lnTo>
                      <a:pt x="20" y="40"/>
                    </a:lnTo>
                    <a:lnTo>
                      <a:pt x="17" y="31"/>
                    </a:lnTo>
                    <a:lnTo>
                      <a:pt x="22" y="32"/>
                    </a:lnTo>
                    <a:lnTo>
                      <a:pt x="25" y="25"/>
                    </a:lnTo>
                    <a:lnTo>
                      <a:pt x="35" y="23"/>
                    </a:lnTo>
                    <a:lnTo>
                      <a:pt x="35" y="8"/>
                    </a:lnTo>
                    <a:lnTo>
                      <a:pt x="40" y="0"/>
                    </a:lnTo>
                    <a:lnTo>
                      <a:pt x="45" y="13"/>
                    </a:lnTo>
                    <a:lnTo>
                      <a:pt x="63" y="13"/>
                    </a:lnTo>
                    <a:lnTo>
                      <a:pt x="69" y="11"/>
                    </a:lnTo>
                    <a:lnTo>
                      <a:pt x="75" y="13"/>
                    </a:lnTo>
                    <a:lnTo>
                      <a:pt x="93" y="15"/>
                    </a:lnTo>
                    <a:lnTo>
                      <a:pt x="92" y="0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5" name="Freeform 63"/>
              <p:cNvSpPr>
                <a:spLocks/>
              </p:cNvSpPr>
              <p:nvPr/>
            </p:nvSpPr>
            <p:spPr bwMode="gray">
              <a:xfrm>
                <a:off x="5763569" y="4135438"/>
                <a:ext cx="638175" cy="860425"/>
              </a:xfrm>
              <a:custGeom>
                <a:avLst/>
                <a:gdLst>
                  <a:gd name="T0" fmla="*/ 2147483647 w 132"/>
                  <a:gd name="T1" fmla="*/ 2147483647 h 319"/>
                  <a:gd name="T2" fmla="*/ 2147483647 w 132"/>
                  <a:gd name="T3" fmla="*/ 2147483647 h 319"/>
                  <a:gd name="T4" fmla="*/ 2147483647 w 132"/>
                  <a:gd name="T5" fmla="*/ 2147483647 h 319"/>
                  <a:gd name="T6" fmla="*/ 2147483647 w 132"/>
                  <a:gd name="T7" fmla="*/ 2147483647 h 319"/>
                  <a:gd name="T8" fmla="*/ 2147483647 w 132"/>
                  <a:gd name="T9" fmla="*/ 2147483647 h 319"/>
                  <a:gd name="T10" fmla="*/ 2147483647 w 132"/>
                  <a:gd name="T11" fmla="*/ 2147483647 h 319"/>
                  <a:gd name="T12" fmla="*/ 2147483647 w 132"/>
                  <a:gd name="T13" fmla="*/ 2147483647 h 319"/>
                  <a:gd name="T14" fmla="*/ 2147483647 w 132"/>
                  <a:gd name="T15" fmla="*/ 0 h 319"/>
                  <a:gd name="T16" fmla="*/ 2147483647 w 132"/>
                  <a:gd name="T17" fmla="*/ 2147483647 h 319"/>
                  <a:gd name="T18" fmla="*/ 2147483647 w 132"/>
                  <a:gd name="T19" fmla="*/ 2147483647 h 319"/>
                  <a:gd name="T20" fmla="*/ 2147483647 w 132"/>
                  <a:gd name="T21" fmla="*/ 2147483647 h 319"/>
                  <a:gd name="T22" fmla="*/ 2147483647 w 132"/>
                  <a:gd name="T23" fmla="*/ 2147483647 h 319"/>
                  <a:gd name="T24" fmla="*/ 2147483647 w 132"/>
                  <a:gd name="T25" fmla="*/ 2147483647 h 319"/>
                  <a:gd name="T26" fmla="*/ 2147483647 w 132"/>
                  <a:gd name="T27" fmla="*/ 2147483647 h 319"/>
                  <a:gd name="T28" fmla="*/ 2147483647 w 132"/>
                  <a:gd name="T29" fmla="*/ 2147483647 h 319"/>
                  <a:gd name="T30" fmla="*/ 2147483647 w 132"/>
                  <a:gd name="T31" fmla="*/ 2147483647 h 319"/>
                  <a:gd name="T32" fmla="*/ 2147483647 w 132"/>
                  <a:gd name="T33" fmla="*/ 2147483647 h 319"/>
                  <a:gd name="T34" fmla="*/ 0 w 132"/>
                  <a:gd name="T35" fmla="*/ 2147483647 h 319"/>
                  <a:gd name="T36" fmla="*/ 2147483647 w 132"/>
                  <a:gd name="T37" fmla="*/ 2147483647 h 319"/>
                  <a:gd name="T38" fmla="*/ 2147483647 w 132"/>
                  <a:gd name="T39" fmla="*/ 2147483647 h 319"/>
                  <a:gd name="T40" fmla="*/ 2147483647 w 132"/>
                  <a:gd name="T41" fmla="*/ 2147483647 h 319"/>
                  <a:gd name="T42" fmla="*/ 0 w 132"/>
                  <a:gd name="T43" fmla="*/ 2147483647 h 319"/>
                  <a:gd name="T44" fmla="*/ 2147483647 w 132"/>
                  <a:gd name="T45" fmla="*/ 2147483647 h 319"/>
                  <a:gd name="T46" fmla="*/ 2147483647 w 132"/>
                  <a:gd name="T47" fmla="*/ 2147483647 h 319"/>
                  <a:gd name="T48" fmla="*/ 2147483647 w 132"/>
                  <a:gd name="T49" fmla="*/ 2147483647 h 319"/>
                  <a:gd name="T50" fmla="*/ 2147483647 w 132"/>
                  <a:gd name="T51" fmla="*/ 2147483647 h 319"/>
                  <a:gd name="T52" fmla="*/ 2147483647 w 132"/>
                  <a:gd name="T53" fmla="*/ 2147483647 h 319"/>
                  <a:gd name="T54" fmla="*/ 2147483647 w 132"/>
                  <a:gd name="T55" fmla="*/ 2147483647 h 319"/>
                  <a:gd name="T56" fmla="*/ 2147483647 w 132"/>
                  <a:gd name="T57" fmla="*/ 2147483647 h 319"/>
                  <a:gd name="T58" fmla="*/ 2147483647 w 132"/>
                  <a:gd name="T59" fmla="*/ 2147483647 h 319"/>
                  <a:gd name="T60" fmla="*/ 2147483647 w 132"/>
                  <a:gd name="T61" fmla="*/ 2147483647 h 319"/>
                  <a:gd name="T62" fmla="*/ 2147483647 w 132"/>
                  <a:gd name="T63" fmla="*/ 2147483647 h 319"/>
                  <a:gd name="T64" fmla="*/ 2147483647 w 132"/>
                  <a:gd name="T65" fmla="*/ 2147483647 h 319"/>
                  <a:gd name="T66" fmla="*/ 2147483647 w 132"/>
                  <a:gd name="T67" fmla="*/ 2147483647 h 319"/>
                  <a:gd name="T68" fmla="*/ 2147483647 w 132"/>
                  <a:gd name="T69" fmla="*/ 2147483647 h 319"/>
                  <a:gd name="T70" fmla="*/ 2147483647 w 132"/>
                  <a:gd name="T71" fmla="*/ 2147483647 h 319"/>
                  <a:gd name="T72" fmla="*/ 2147483647 w 132"/>
                  <a:gd name="T73" fmla="*/ 2147483647 h 319"/>
                  <a:gd name="T74" fmla="*/ 2147483647 w 132"/>
                  <a:gd name="T75" fmla="*/ 2147483647 h 319"/>
                  <a:gd name="T76" fmla="*/ 2147483647 w 132"/>
                  <a:gd name="T77" fmla="*/ 2147483647 h 319"/>
                  <a:gd name="T78" fmla="*/ 2147483647 w 132"/>
                  <a:gd name="T79" fmla="*/ 2147483647 h 319"/>
                  <a:gd name="T80" fmla="*/ 2147483647 w 132"/>
                  <a:gd name="T81" fmla="*/ 2147483647 h 319"/>
                  <a:gd name="T82" fmla="*/ 2147483647 w 132"/>
                  <a:gd name="T83" fmla="*/ 2147483647 h 319"/>
                  <a:gd name="T84" fmla="*/ 2147483647 w 132"/>
                  <a:gd name="T85" fmla="*/ 2147483647 h 319"/>
                  <a:gd name="T86" fmla="*/ 2147483647 w 132"/>
                  <a:gd name="T87" fmla="*/ 2147483647 h 319"/>
                  <a:gd name="T88" fmla="*/ 2147483647 w 132"/>
                  <a:gd name="T89" fmla="*/ 2147483647 h 319"/>
                  <a:gd name="T90" fmla="*/ 2147483647 w 132"/>
                  <a:gd name="T91" fmla="*/ 2147483647 h 319"/>
                  <a:gd name="T92" fmla="*/ 2147483647 w 132"/>
                  <a:gd name="T93" fmla="*/ 2147483647 h 31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2"/>
                  <a:gd name="T142" fmla="*/ 0 h 319"/>
                  <a:gd name="T143" fmla="*/ 132 w 132"/>
                  <a:gd name="T144" fmla="*/ 319 h 31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2" h="319">
                    <a:moveTo>
                      <a:pt x="110" y="38"/>
                    </a:moveTo>
                    <a:lnTo>
                      <a:pt x="110" y="30"/>
                    </a:lnTo>
                    <a:lnTo>
                      <a:pt x="107" y="30"/>
                    </a:lnTo>
                    <a:lnTo>
                      <a:pt x="107" y="22"/>
                    </a:lnTo>
                    <a:lnTo>
                      <a:pt x="111" y="22"/>
                    </a:lnTo>
                    <a:lnTo>
                      <a:pt x="107" y="9"/>
                    </a:lnTo>
                    <a:lnTo>
                      <a:pt x="103" y="15"/>
                    </a:lnTo>
                    <a:lnTo>
                      <a:pt x="91" y="15"/>
                    </a:lnTo>
                    <a:lnTo>
                      <a:pt x="84" y="34"/>
                    </a:lnTo>
                    <a:lnTo>
                      <a:pt x="70" y="32"/>
                    </a:lnTo>
                    <a:lnTo>
                      <a:pt x="73" y="19"/>
                    </a:lnTo>
                    <a:lnTo>
                      <a:pt x="68" y="13"/>
                    </a:lnTo>
                    <a:lnTo>
                      <a:pt x="63" y="22"/>
                    </a:lnTo>
                    <a:lnTo>
                      <a:pt x="57" y="21"/>
                    </a:lnTo>
                    <a:lnTo>
                      <a:pt x="51" y="0"/>
                    </a:lnTo>
                    <a:lnTo>
                      <a:pt x="49" y="0"/>
                    </a:lnTo>
                    <a:lnTo>
                      <a:pt x="43" y="3"/>
                    </a:lnTo>
                    <a:lnTo>
                      <a:pt x="37" y="3"/>
                    </a:lnTo>
                    <a:lnTo>
                      <a:pt x="39" y="15"/>
                    </a:lnTo>
                    <a:lnTo>
                      <a:pt x="37" y="19"/>
                    </a:lnTo>
                    <a:lnTo>
                      <a:pt x="39" y="40"/>
                    </a:lnTo>
                    <a:lnTo>
                      <a:pt x="43" y="47"/>
                    </a:lnTo>
                    <a:lnTo>
                      <a:pt x="36" y="49"/>
                    </a:lnTo>
                    <a:lnTo>
                      <a:pt x="31" y="61"/>
                    </a:lnTo>
                    <a:lnTo>
                      <a:pt x="27" y="59"/>
                    </a:lnTo>
                    <a:lnTo>
                      <a:pt x="21" y="51"/>
                    </a:lnTo>
                    <a:lnTo>
                      <a:pt x="14" y="51"/>
                    </a:lnTo>
                    <a:lnTo>
                      <a:pt x="12" y="65"/>
                    </a:lnTo>
                    <a:lnTo>
                      <a:pt x="16" y="76"/>
                    </a:lnTo>
                    <a:lnTo>
                      <a:pt x="16" y="99"/>
                    </a:lnTo>
                    <a:lnTo>
                      <a:pt x="18" y="105"/>
                    </a:lnTo>
                    <a:lnTo>
                      <a:pt x="13" y="120"/>
                    </a:lnTo>
                    <a:lnTo>
                      <a:pt x="13" y="134"/>
                    </a:lnTo>
                    <a:lnTo>
                      <a:pt x="10" y="135"/>
                    </a:lnTo>
                    <a:lnTo>
                      <a:pt x="2" y="134"/>
                    </a:lnTo>
                    <a:lnTo>
                      <a:pt x="0" y="137"/>
                    </a:lnTo>
                    <a:lnTo>
                      <a:pt x="1" y="147"/>
                    </a:lnTo>
                    <a:lnTo>
                      <a:pt x="3" y="157"/>
                    </a:lnTo>
                    <a:lnTo>
                      <a:pt x="1" y="166"/>
                    </a:lnTo>
                    <a:lnTo>
                      <a:pt x="1" y="178"/>
                    </a:lnTo>
                    <a:lnTo>
                      <a:pt x="5" y="183"/>
                    </a:lnTo>
                    <a:lnTo>
                      <a:pt x="5" y="191"/>
                    </a:lnTo>
                    <a:lnTo>
                      <a:pt x="0" y="199"/>
                    </a:lnTo>
                    <a:lnTo>
                      <a:pt x="0" y="202"/>
                    </a:lnTo>
                    <a:lnTo>
                      <a:pt x="0" y="212"/>
                    </a:lnTo>
                    <a:lnTo>
                      <a:pt x="3" y="229"/>
                    </a:lnTo>
                    <a:lnTo>
                      <a:pt x="8" y="231"/>
                    </a:lnTo>
                    <a:lnTo>
                      <a:pt x="17" y="248"/>
                    </a:lnTo>
                    <a:lnTo>
                      <a:pt x="22" y="246"/>
                    </a:lnTo>
                    <a:lnTo>
                      <a:pt x="25" y="241"/>
                    </a:lnTo>
                    <a:lnTo>
                      <a:pt x="27" y="248"/>
                    </a:lnTo>
                    <a:lnTo>
                      <a:pt x="31" y="246"/>
                    </a:lnTo>
                    <a:lnTo>
                      <a:pt x="33" y="256"/>
                    </a:lnTo>
                    <a:lnTo>
                      <a:pt x="30" y="268"/>
                    </a:lnTo>
                    <a:lnTo>
                      <a:pt x="23" y="283"/>
                    </a:lnTo>
                    <a:lnTo>
                      <a:pt x="22" y="291"/>
                    </a:lnTo>
                    <a:lnTo>
                      <a:pt x="25" y="302"/>
                    </a:lnTo>
                    <a:lnTo>
                      <a:pt x="32" y="304"/>
                    </a:lnTo>
                    <a:lnTo>
                      <a:pt x="39" y="298"/>
                    </a:lnTo>
                    <a:lnTo>
                      <a:pt x="42" y="306"/>
                    </a:lnTo>
                    <a:lnTo>
                      <a:pt x="49" y="306"/>
                    </a:lnTo>
                    <a:lnTo>
                      <a:pt x="53" y="310"/>
                    </a:lnTo>
                    <a:lnTo>
                      <a:pt x="58" y="308"/>
                    </a:lnTo>
                    <a:lnTo>
                      <a:pt x="62" y="310"/>
                    </a:lnTo>
                    <a:lnTo>
                      <a:pt x="68" y="310"/>
                    </a:lnTo>
                    <a:lnTo>
                      <a:pt x="72" y="308"/>
                    </a:lnTo>
                    <a:lnTo>
                      <a:pt x="76" y="319"/>
                    </a:lnTo>
                    <a:lnTo>
                      <a:pt x="88" y="315"/>
                    </a:lnTo>
                    <a:lnTo>
                      <a:pt x="89" y="308"/>
                    </a:lnTo>
                    <a:lnTo>
                      <a:pt x="96" y="308"/>
                    </a:lnTo>
                    <a:lnTo>
                      <a:pt x="99" y="315"/>
                    </a:lnTo>
                    <a:lnTo>
                      <a:pt x="101" y="317"/>
                    </a:lnTo>
                    <a:lnTo>
                      <a:pt x="103" y="306"/>
                    </a:lnTo>
                    <a:lnTo>
                      <a:pt x="103" y="291"/>
                    </a:lnTo>
                    <a:lnTo>
                      <a:pt x="99" y="285"/>
                    </a:lnTo>
                    <a:lnTo>
                      <a:pt x="100" y="281"/>
                    </a:lnTo>
                    <a:lnTo>
                      <a:pt x="103" y="268"/>
                    </a:lnTo>
                    <a:lnTo>
                      <a:pt x="107" y="269"/>
                    </a:lnTo>
                    <a:lnTo>
                      <a:pt x="113" y="269"/>
                    </a:lnTo>
                    <a:lnTo>
                      <a:pt x="115" y="268"/>
                    </a:lnTo>
                    <a:lnTo>
                      <a:pt x="114" y="252"/>
                    </a:lnTo>
                    <a:lnTo>
                      <a:pt x="94" y="237"/>
                    </a:lnTo>
                    <a:lnTo>
                      <a:pt x="91" y="210"/>
                    </a:lnTo>
                    <a:lnTo>
                      <a:pt x="89" y="204"/>
                    </a:lnTo>
                    <a:lnTo>
                      <a:pt x="89" y="199"/>
                    </a:lnTo>
                    <a:lnTo>
                      <a:pt x="122" y="185"/>
                    </a:lnTo>
                    <a:lnTo>
                      <a:pt x="132" y="172"/>
                    </a:lnTo>
                    <a:lnTo>
                      <a:pt x="129" y="151"/>
                    </a:lnTo>
                    <a:lnTo>
                      <a:pt x="129" y="122"/>
                    </a:lnTo>
                    <a:lnTo>
                      <a:pt x="116" y="101"/>
                    </a:lnTo>
                    <a:lnTo>
                      <a:pt x="121" y="67"/>
                    </a:lnTo>
                    <a:lnTo>
                      <a:pt x="117" y="59"/>
                    </a:lnTo>
                    <a:lnTo>
                      <a:pt x="116" y="59"/>
                    </a:lnTo>
                    <a:lnTo>
                      <a:pt x="110" y="38"/>
                    </a:lnTo>
                    <a:close/>
                  </a:path>
                </a:pathLst>
              </a:custGeom>
              <a:solidFill>
                <a:schemeClr val="tx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256500" tIns="35100" rIns="67500" bIns="35100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0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6" name="Freeform 64"/>
              <p:cNvSpPr>
                <a:spLocks/>
              </p:cNvSpPr>
              <p:nvPr/>
            </p:nvSpPr>
            <p:spPr bwMode="gray">
              <a:xfrm>
                <a:off x="6463657" y="4745038"/>
                <a:ext cx="166687" cy="107950"/>
              </a:xfrm>
              <a:custGeom>
                <a:avLst/>
                <a:gdLst>
                  <a:gd name="T0" fmla="*/ 2147483647 w 117"/>
                  <a:gd name="T1" fmla="*/ 0 h 72"/>
                  <a:gd name="T2" fmla="*/ 2147483647 w 117"/>
                  <a:gd name="T3" fmla="*/ 2147483647 h 72"/>
                  <a:gd name="T4" fmla="*/ 2147483647 w 117"/>
                  <a:gd name="T5" fmla="*/ 2147483647 h 72"/>
                  <a:gd name="T6" fmla="*/ 2147483647 w 117"/>
                  <a:gd name="T7" fmla="*/ 2147483647 h 72"/>
                  <a:gd name="T8" fmla="*/ 0 w 117"/>
                  <a:gd name="T9" fmla="*/ 2147483647 h 7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7"/>
                  <a:gd name="T16" fmla="*/ 0 h 72"/>
                  <a:gd name="T17" fmla="*/ 117 w 117"/>
                  <a:gd name="T18" fmla="*/ 72 h 7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7" h="72">
                    <a:moveTo>
                      <a:pt x="117" y="0"/>
                    </a:moveTo>
                    <a:cubicBezTo>
                      <a:pt x="106" y="34"/>
                      <a:pt x="95" y="22"/>
                      <a:pt x="63" y="33"/>
                    </a:cubicBezTo>
                    <a:cubicBezTo>
                      <a:pt x="51" y="51"/>
                      <a:pt x="32" y="48"/>
                      <a:pt x="15" y="60"/>
                    </a:cubicBezTo>
                    <a:cubicBezTo>
                      <a:pt x="13" y="63"/>
                      <a:pt x="12" y="67"/>
                      <a:pt x="9" y="69"/>
                    </a:cubicBezTo>
                    <a:cubicBezTo>
                      <a:pt x="7" y="71"/>
                      <a:pt x="0" y="72"/>
                      <a:pt x="0" y="72"/>
                    </a:cubicBezTo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7" name="Freeform 65"/>
              <p:cNvSpPr>
                <a:spLocks/>
              </p:cNvSpPr>
              <p:nvPr/>
            </p:nvSpPr>
            <p:spPr bwMode="gray">
              <a:xfrm>
                <a:off x="6287444" y="5065713"/>
                <a:ext cx="222250" cy="138112"/>
              </a:xfrm>
              <a:custGeom>
                <a:avLst/>
                <a:gdLst>
                  <a:gd name="T0" fmla="*/ 2147483647 w 153"/>
                  <a:gd name="T1" fmla="*/ 2147483647 h 92"/>
                  <a:gd name="T2" fmla="*/ 2147483647 w 153"/>
                  <a:gd name="T3" fmla="*/ 0 h 92"/>
                  <a:gd name="T4" fmla="*/ 2147483647 w 153"/>
                  <a:gd name="T5" fmla="*/ 2147483647 h 92"/>
                  <a:gd name="T6" fmla="*/ 2147483647 w 153"/>
                  <a:gd name="T7" fmla="*/ 2147483647 h 92"/>
                  <a:gd name="T8" fmla="*/ 2147483647 w 153"/>
                  <a:gd name="T9" fmla="*/ 2147483647 h 92"/>
                  <a:gd name="T10" fmla="*/ 2147483647 w 153"/>
                  <a:gd name="T11" fmla="*/ 2147483647 h 92"/>
                  <a:gd name="T12" fmla="*/ 2147483647 w 153"/>
                  <a:gd name="T13" fmla="*/ 2147483647 h 92"/>
                  <a:gd name="T14" fmla="*/ 2147483647 w 153"/>
                  <a:gd name="T15" fmla="*/ 2147483647 h 92"/>
                  <a:gd name="T16" fmla="*/ 2147483647 w 153"/>
                  <a:gd name="T17" fmla="*/ 2147483647 h 92"/>
                  <a:gd name="T18" fmla="*/ 2147483647 w 153"/>
                  <a:gd name="T19" fmla="*/ 2147483647 h 92"/>
                  <a:gd name="T20" fmla="*/ 2147483647 w 153"/>
                  <a:gd name="T21" fmla="*/ 2147483647 h 92"/>
                  <a:gd name="T22" fmla="*/ 2147483647 w 153"/>
                  <a:gd name="T23" fmla="*/ 2147483647 h 92"/>
                  <a:gd name="T24" fmla="*/ 2147483647 w 153"/>
                  <a:gd name="T25" fmla="*/ 2147483647 h 92"/>
                  <a:gd name="T26" fmla="*/ 2147483647 w 153"/>
                  <a:gd name="T27" fmla="*/ 2147483647 h 92"/>
                  <a:gd name="T28" fmla="*/ 2147483647 w 153"/>
                  <a:gd name="T29" fmla="*/ 2147483647 h 92"/>
                  <a:gd name="T30" fmla="*/ 2147483647 w 153"/>
                  <a:gd name="T31" fmla="*/ 2147483647 h 92"/>
                  <a:gd name="T32" fmla="*/ 2147483647 w 153"/>
                  <a:gd name="T33" fmla="*/ 2147483647 h 92"/>
                  <a:gd name="T34" fmla="*/ 2147483647 w 153"/>
                  <a:gd name="T35" fmla="*/ 2147483647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53"/>
                  <a:gd name="T55" fmla="*/ 0 h 92"/>
                  <a:gd name="T56" fmla="*/ 153 w 153"/>
                  <a:gd name="T57" fmla="*/ 92 h 9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53" h="92">
                    <a:moveTo>
                      <a:pt x="150" y="16"/>
                    </a:moveTo>
                    <a:cubicBezTo>
                      <a:pt x="146" y="7"/>
                      <a:pt x="147" y="2"/>
                      <a:pt x="136" y="0"/>
                    </a:cubicBezTo>
                    <a:cubicBezTo>
                      <a:pt x="112" y="3"/>
                      <a:pt x="88" y="3"/>
                      <a:pt x="64" y="6"/>
                    </a:cubicBezTo>
                    <a:cubicBezTo>
                      <a:pt x="59" y="10"/>
                      <a:pt x="58" y="13"/>
                      <a:pt x="52" y="15"/>
                    </a:cubicBezTo>
                    <a:cubicBezTo>
                      <a:pt x="45" y="10"/>
                      <a:pt x="42" y="4"/>
                      <a:pt x="33" y="3"/>
                    </a:cubicBezTo>
                    <a:cubicBezTo>
                      <a:pt x="11" y="4"/>
                      <a:pt x="0" y="21"/>
                      <a:pt x="19" y="46"/>
                    </a:cubicBezTo>
                    <a:cubicBezTo>
                      <a:pt x="20" y="55"/>
                      <a:pt x="30" y="68"/>
                      <a:pt x="19" y="72"/>
                    </a:cubicBezTo>
                    <a:cubicBezTo>
                      <a:pt x="12" y="79"/>
                      <a:pt x="9" y="86"/>
                      <a:pt x="21" y="88"/>
                    </a:cubicBezTo>
                    <a:cubicBezTo>
                      <a:pt x="29" y="92"/>
                      <a:pt x="34" y="91"/>
                      <a:pt x="42" y="88"/>
                    </a:cubicBezTo>
                    <a:cubicBezTo>
                      <a:pt x="51" y="79"/>
                      <a:pt x="64" y="86"/>
                      <a:pt x="75" y="88"/>
                    </a:cubicBezTo>
                    <a:cubicBezTo>
                      <a:pt x="82" y="92"/>
                      <a:pt x="87" y="89"/>
                      <a:pt x="93" y="84"/>
                    </a:cubicBezTo>
                    <a:cubicBezTo>
                      <a:pt x="94" y="77"/>
                      <a:pt x="101" y="73"/>
                      <a:pt x="105" y="66"/>
                    </a:cubicBezTo>
                    <a:cubicBezTo>
                      <a:pt x="108" y="53"/>
                      <a:pt x="103" y="68"/>
                      <a:pt x="111" y="60"/>
                    </a:cubicBezTo>
                    <a:cubicBezTo>
                      <a:pt x="112" y="59"/>
                      <a:pt x="111" y="57"/>
                      <a:pt x="112" y="55"/>
                    </a:cubicBezTo>
                    <a:cubicBezTo>
                      <a:pt x="113" y="53"/>
                      <a:pt x="113" y="50"/>
                      <a:pt x="115" y="49"/>
                    </a:cubicBezTo>
                    <a:cubicBezTo>
                      <a:pt x="120" y="45"/>
                      <a:pt x="132" y="46"/>
                      <a:pt x="138" y="45"/>
                    </a:cubicBezTo>
                    <a:cubicBezTo>
                      <a:pt x="143" y="37"/>
                      <a:pt x="148" y="30"/>
                      <a:pt x="153" y="22"/>
                    </a:cubicBezTo>
                    <a:cubicBezTo>
                      <a:pt x="151" y="12"/>
                      <a:pt x="152" y="10"/>
                      <a:pt x="150" y="16"/>
                    </a:cubicBez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8" name="Freeform 66"/>
              <p:cNvSpPr>
                <a:spLocks/>
              </p:cNvSpPr>
              <p:nvPr/>
            </p:nvSpPr>
            <p:spPr bwMode="gray">
              <a:xfrm>
                <a:off x="6295382" y="5095875"/>
                <a:ext cx="381000" cy="374650"/>
              </a:xfrm>
              <a:custGeom>
                <a:avLst/>
                <a:gdLst>
                  <a:gd name="T0" fmla="*/ 2147483647 w 262"/>
                  <a:gd name="T1" fmla="*/ 2147483647 h 247"/>
                  <a:gd name="T2" fmla="*/ 2147483647 w 262"/>
                  <a:gd name="T3" fmla="*/ 2147483647 h 247"/>
                  <a:gd name="T4" fmla="*/ 2147483647 w 262"/>
                  <a:gd name="T5" fmla="*/ 0 h 247"/>
                  <a:gd name="T6" fmla="*/ 2147483647 w 262"/>
                  <a:gd name="T7" fmla="*/ 2147483647 h 247"/>
                  <a:gd name="T8" fmla="*/ 2147483647 w 262"/>
                  <a:gd name="T9" fmla="*/ 2147483647 h 247"/>
                  <a:gd name="T10" fmla="*/ 2147483647 w 262"/>
                  <a:gd name="T11" fmla="*/ 2147483647 h 247"/>
                  <a:gd name="T12" fmla="*/ 2147483647 w 262"/>
                  <a:gd name="T13" fmla="*/ 2147483647 h 247"/>
                  <a:gd name="T14" fmla="*/ 2147483647 w 262"/>
                  <a:gd name="T15" fmla="*/ 2147483647 h 247"/>
                  <a:gd name="T16" fmla="*/ 2147483647 w 262"/>
                  <a:gd name="T17" fmla="*/ 2147483647 h 247"/>
                  <a:gd name="T18" fmla="*/ 2147483647 w 262"/>
                  <a:gd name="T19" fmla="*/ 2147483647 h 247"/>
                  <a:gd name="T20" fmla="*/ 2147483647 w 262"/>
                  <a:gd name="T21" fmla="*/ 2147483647 h 247"/>
                  <a:gd name="T22" fmla="*/ 2147483647 w 262"/>
                  <a:gd name="T23" fmla="*/ 2147483647 h 247"/>
                  <a:gd name="T24" fmla="*/ 2147483647 w 262"/>
                  <a:gd name="T25" fmla="*/ 2147483647 h 247"/>
                  <a:gd name="T26" fmla="*/ 2147483647 w 262"/>
                  <a:gd name="T27" fmla="*/ 2147483647 h 247"/>
                  <a:gd name="T28" fmla="*/ 2147483647 w 262"/>
                  <a:gd name="T29" fmla="*/ 2147483647 h 247"/>
                  <a:gd name="T30" fmla="*/ 2147483647 w 262"/>
                  <a:gd name="T31" fmla="*/ 2147483647 h 247"/>
                  <a:gd name="T32" fmla="*/ 2147483647 w 262"/>
                  <a:gd name="T33" fmla="*/ 2147483647 h 247"/>
                  <a:gd name="T34" fmla="*/ 2147483647 w 262"/>
                  <a:gd name="T35" fmla="*/ 2147483647 h 247"/>
                  <a:gd name="T36" fmla="*/ 2147483647 w 262"/>
                  <a:gd name="T37" fmla="*/ 2147483647 h 247"/>
                  <a:gd name="T38" fmla="*/ 2147483647 w 262"/>
                  <a:gd name="T39" fmla="*/ 2147483647 h 247"/>
                  <a:gd name="T40" fmla="*/ 2147483647 w 262"/>
                  <a:gd name="T41" fmla="*/ 2147483647 h 247"/>
                  <a:gd name="T42" fmla="*/ 2147483647 w 262"/>
                  <a:gd name="T43" fmla="*/ 2147483647 h 247"/>
                  <a:gd name="T44" fmla="*/ 2147483647 w 262"/>
                  <a:gd name="T45" fmla="*/ 2147483647 h 247"/>
                  <a:gd name="T46" fmla="*/ 2147483647 w 262"/>
                  <a:gd name="T47" fmla="*/ 2147483647 h 247"/>
                  <a:gd name="T48" fmla="*/ 2147483647 w 262"/>
                  <a:gd name="T49" fmla="*/ 2147483647 h 247"/>
                  <a:gd name="T50" fmla="*/ 2147483647 w 262"/>
                  <a:gd name="T51" fmla="*/ 2147483647 h 247"/>
                  <a:gd name="T52" fmla="*/ 2147483647 w 262"/>
                  <a:gd name="T53" fmla="*/ 2147483647 h 247"/>
                  <a:gd name="T54" fmla="*/ 2147483647 w 262"/>
                  <a:gd name="T55" fmla="*/ 2147483647 h 247"/>
                  <a:gd name="T56" fmla="*/ 2147483647 w 262"/>
                  <a:gd name="T57" fmla="*/ 2147483647 h 247"/>
                  <a:gd name="T58" fmla="*/ 2147483647 w 262"/>
                  <a:gd name="T59" fmla="*/ 2147483647 h 247"/>
                  <a:gd name="T60" fmla="*/ 2147483647 w 262"/>
                  <a:gd name="T61" fmla="*/ 2147483647 h 247"/>
                  <a:gd name="T62" fmla="*/ 2147483647 w 262"/>
                  <a:gd name="T63" fmla="*/ 2147483647 h 247"/>
                  <a:gd name="T64" fmla="*/ 2147483647 w 262"/>
                  <a:gd name="T65" fmla="*/ 2147483647 h 247"/>
                  <a:gd name="T66" fmla="*/ 2147483647 w 262"/>
                  <a:gd name="T67" fmla="*/ 2147483647 h 247"/>
                  <a:gd name="T68" fmla="*/ 2147483647 w 262"/>
                  <a:gd name="T69" fmla="*/ 2147483647 h 247"/>
                  <a:gd name="T70" fmla="*/ 2147483647 w 262"/>
                  <a:gd name="T71" fmla="*/ 2147483647 h 247"/>
                  <a:gd name="T72" fmla="*/ 2147483647 w 262"/>
                  <a:gd name="T73" fmla="*/ 2147483647 h 247"/>
                  <a:gd name="T74" fmla="*/ 2147483647 w 262"/>
                  <a:gd name="T75" fmla="*/ 2147483647 h 247"/>
                  <a:gd name="T76" fmla="*/ 2147483647 w 262"/>
                  <a:gd name="T77" fmla="*/ 2147483647 h 247"/>
                  <a:gd name="T78" fmla="*/ 2147483647 w 262"/>
                  <a:gd name="T79" fmla="*/ 2147483647 h 247"/>
                  <a:gd name="T80" fmla="*/ 2147483647 w 262"/>
                  <a:gd name="T81" fmla="*/ 2147483647 h 247"/>
                  <a:gd name="T82" fmla="*/ 2147483647 w 262"/>
                  <a:gd name="T83" fmla="*/ 2147483647 h 247"/>
                  <a:gd name="T84" fmla="*/ 2147483647 w 262"/>
                  <a:gd name="T85" fmla="*/ 2147483647 h 247"/>
                  <a:gd name="T86" fmla="*/ 2147483647 w 262"/>
                  <a:gd name="T87" fmla="*/ 2147483647 h 247"/>
                  <a:gd name="T88" fmla="*/ 2147483647 w 262"/>
                  <a:gd name="T89" fmla="*/ 2147483647 h 24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62"/>
                  <a:gd name="T136" fmla="*/ 0 h 247"/>
                  <a:gd name="T137" fmla="*/ 262 w 262"/>
                  <a:gd name="T138" fmla="*/ 247 h 247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62" h="247">
                    <a:moveTo>
                      <a:pt x="186" y="24"/>
                    </a:moveTo>
                    <a:cubicBezTo>
                      <a:pt x="181" y="19"/>
                      <a:pt x="175" y="10"/>
                      <a:pt x="169" y="9"/>
                    </a:cubicBezTo>
                    <a:cubicBezTo>
                      <a:pt x="164" y="6"/>
                      <a:pt x="159" y="3"/>
                      <a:pt x="154" y="0"/>
                    </a:cubicBezTo>
                    <a:cubicBezTo>
                      <a:pt x="140" y="1"/>
                      <a:pt x="140" y="9"/>
                      <a:pt x="132" y="19"/>
                    </a:cubicBezTo>
                    <a:cubicBezTo>
                      <a:pt x="129" y="29"/>
                      <a:pt x="121" y="25"/>
                      <a:pt x="112" y="30"/>
                    </a:cubicBezTo>
                    <a:cubicBezTo>
                      <a:pt x="98" y="39"/>
                      <a:pt x="97" y="58"/>
                      <a:pt x="81" y="66"/>
                    </a:cubicBezTo>
                    <a:cubicBezTo>
                      <a:pt x="63" y="65"/>
                      <a:pt x="51" y="63"/>
                      <a:pt x="34" y="64"/>
                    </a:cubicBezTo>
                    <a:cubicBezTo>
                      <a:pt x="28" y="69"/>
                      <a:pt x="15" y="61"/>
                      <a:pt x="6" y="60"/>
                    </a:cubicBezTo>
                    <a:cubicBezTo>
                      <a:pt x="0" y="68"/>
                      <a:pt x="6" y="73"/>
                      <a:pt x="9" y="81"/>
                    </a:cubicBezTo>
                    <a:cubicBezTo>
                      <a:pt x="10" y="91"/>
                      <a:pt x="13" y="100"/>
                      <a:pt x="22" y="105"/>
                    </a:cubicBezTo>
                    <a:cubicBezTo>
                      <a:pt x="33" y="99"/>
                      <a:pt x="39" y="89"/>
                      <a:pt x="45" y="79"/>
                    </a:cubicBezTo>
                    <a:cubicBezTo>
                      <a:pt x="59" y="81"/>
                      <a:pt x="58" y="81"/>
                      <a:pt x="63" y="93"/>
                    </a:cubicBezTo>
                    <a:cubicBezTo>
                      <a:pt x="64" y="102"/>
                      <a:pt x="63" y="110"/>
                      <a:pt x="61" y="118"/>
                    </a:cubicBezTo>
                    <a:cubicBezTo>
                      <a:pt x="63" y="131"/>
                      <a:pt x="66" y="131"/>
                      <a:pt x="78" y="133"/>
                    </a:cubicBezTo>
                    <a:cubicBezTo>
                      <a:pt x="79" y="139"/>
                      <a:pt x="71" y="142"/>
                      <a:pt x="67" y="150"/>
                    </a:cubicBezTo>
                    <a:cubicBezTo>
                      <a:pt x="65" y="160"/>
                      <a:pt x="68" y="162"/>
                      <a:pt x="78" y="163"/>
                    </a:cubicBezTo>
                    <a:cubicBezTo>
                      <a:pt x="83" y="165"/>
                      <a:pt x="88" y="166"/>
                      <a:pt x="93" y="168"/>
                    </a:cubicBezTo>
                    <a:cubicBezTo>
                      <a:pt x="99" y="172"/>
                      <a:pt x="99" y="191"/>
                      <a:pt x="106" y="193"/>
                    </a:cubicBezTo>
                    <a:cubicBezTo>
                      <a:pt x="113" y="195"/>
                      <a:pt x="121" y="194"/>
                      <a:pt x="129" y="195"/>
                    </a:cubicBezTo>
                    <a:cubicBezTo>
                      <a:pt x="137" y="200"/>
                      <a:pt x="141" y="208"/>
                      <a:pt x="150" y="213"/>
                    </a:cubicBezTo>
                    <a:cubicBezTo>
                      <a:pt x="154" y="218"/>
                      <a:pt x="156" y="219"/>
                      <a:pt x="162" y="220"/>
                    </a:cubicBezTo>
                    <a:cubicBezTo>
                      <a:pt x="167" y="228"/>
                      <a:pt x="160" y="239"/>
                      <a:pt x="171" y="237"/>
                    </a:cubicBezTo>
                    <a:cubicBezTo>
                      <a:pt x="182" y="231"/>
                      <a:pt x="190" y="245"/>
                      <a:pt x="201" y="247"/>
                    </a:cubicBezTo>
                    <a:cubicBezTo>
                      <a:pt x="202" y="241"/>
                      <a:pt x="204" y="235"/>
                      <a:pt x="205" y="229"/>
                    </a:cubicBezTo>
                    <a:cubicBezTo>
                      <a:pt x="204" y="223"/>
                      <a:pt x="204" y="219"/>
                      <a:pt x="207" y="213"/>
                    </a:cubicBezTo>
                    <a:cubicBezTo>
                      <a:pt x="199" y="208"/>
                      <a:pt x="198" y="203"/>
                      <a:pt x="192" y="198"/>
                    </a:cubicBezTo>
                    <a:cubicBezTo>
                      <a:pt x="188" y="188"/>
                      <a:pt x="184" y="183"/>
                      <a:pt x="175" y="178"/>
                    </a:cubicBezTo>
                    <a:cubicBezTo>
                      <a:pt x="171" y="172"/>
                      <a:pt x="173" y="169"/>
                      <a:pt x="166" y="168"/>
                    </a:cubicBezTo>
                    <a:cubicBezTo>
                      <a:pt x="160" y="165"/>
                      <a:pt x="147" y="163"/>
                      <a:pt x="147" y="163"/>
                    </a:cubicBezTo>
                    <a:cubicBezTo>
                      <a:pt x="145" y="154"/>
                      <a:pt x="142" y="148"/>
                      <a:pt x="135" y="141"/>
                    </a:cubicBezTo>
                    <a:cubicBezTo>
                      <a:pt x="131" y="128"/>
                      <a:pt x="118" y="105"/>
                      <a:pt x="103" y="102"/>
                    </a:cubicBezTo>
                    <a:cubicBezTo>
                      <a:pt x="100" y="87"/>
                      <a:pt x="105" y="92"/>
                      <a:pt x="117" y="94"/>
                    </a:cubicBezTo>
                    <a:cubicBezTo>
                      <a:pt x="125" y="100"/>
                      <a:pt x="128" y="100"/>
                      <a:pt x="138" y="102"/>
                    </a:cubicBezTo>
                    <a:cubicBezTo>
                      <a:pt x="146" y="96"/>
                      <a:pt x="148" y="84"/>
                      <a:pt x="157" y="78"/>
                    </a:cubicBezTo>
                    <a:cubicBezTo>
                      <a:pt x="165" y="82"/>
                      <a:pt x="166" y="89"/>
                      <a:pt x="174" y="93"/>
                    </a:cubicBezTo>
                    <a:cubicBezTo>
                      <a:pt x="184" y="107"/>
                      <a:pt x="184" y="99"/>
                      <a:pt x="201" y="96"/>
                    </a:cubicBezTo>
                    <a:cubicBezTo>
                      <a:pt x="208" y="92"/>
                      <a:pt x="215" y="94"/>
                      <a:pt x="222" y="90"/>
                    </a:cubicBezTo>
                    <a:cubicBezTo>
                      <a:pt x="238" y="93"/>
                      <a:pt x="219" y="88"/>
                      <a:pt x="231" y="96"/>
                    </a:cubicBezTo>
                    <a:cubicBezTo>
                      <a:pt x="234" y="98"/>
                      <a:pt x="239" y="98"/>
                      <a:pt x="243" y="99"/>
                    </a:cubicBezTo>
                    <a:cubicBezTo>
                      <a:pt x="247" y="105"/>
                      <a:pt x="251" y="105"/>
                      <a:pt x="258" y="106"/>
                    </a:cubicBezTo>
                    <a:cubicBezTo>
                      <a:pt x="259" y="101"/>
                      <a:pt x="261" y="96"/>
                      <a:pt x="262" y="91"/>
                    </a:cubicBezTo>
                    <a:cubicBezTo>
                      <a:pt x="261" y="83"/>
                      <a:pt x="257" y="84"/>
                      <a:pt x="253" y="78"/>
                    </a:cubicBezTo>
                    <a:cubicBezTo>
                      <a:pt x="252" y="68"/>
                      <a:pt x="250" y="56"/>
                      <a:pt x="244" y="48"/>
                    </a:cubicBezTo>
                    <a:cubicBezTo>
                      <a:pt x="243" y="30"/>
                      <a:pt x="240" y="28"/>
                      <a:pt x="222" y="33"/>
                    </a:cubicBezTo>
                    <a:cubicBezTo>
                      <a:pt x="203" y="27"/>
                      <a:pt x="213" y="21"/>
                      <a:pt x="186" y="24"/>
                    </a:cubicBez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69" name="Freeform 67"/>
              <p:cNvSpPr>
                <a:spLocks/>
              </p:cNvSpPr>
              <p:nvPr/>
            </p:nvSpPr>
            <p:spPr bwMode="gray">
              <a:xfrm>
                <a:off x="6435082" y="5207000"/>
                <a:ext cx="261937" cy="271463"/>
              </a:xfrm>
              <a:custGeom>
                <a:avLst/>
                <a:gdLst>
                  <a:gd name="T0" fmla="*/ 2147483647 w 185"/>
                  <a:gd name="T1" fmla="*/ 2147483647 h 178"/>
                  <a:gd name="T2" fmla="*/ 2147483647 w 185"/>
                  <a:gd name="T3" fmla="*/ 2147483647 h 178"/>
                  <a:gd name="T4" fmla="*/ 2147483647 w 185"/>
                  <a:gd name="T5" fmla="*/ 2147483647 h 178"/>
                  <a:gd name="T6" fmla="*/ 2147483647 w 185"/>
                  <a:gd name="T7" fmla="*/ 2147483647 h 178"/>
                  <a:gd name="T8" fmla="*/ 2147483647 w 185"/>
                  <a:gd name="T9" fmla="*/ 2147483647 h 178"/>
                  <a:gd name="T10" fmla="*/ 2147483647 w 185"/>
                  <a:gd name="T11" fmla="*/ 2147483647 h 178"/>
                  <a:gd name="T12" fmla="*/ 2147483647 w 185"/>
                  <a:gd name="T13" fmla="*/ 2147483647 h 178"/>
                  <a:gd name="T14" fmla="*/ 2147483647 w 185"/>
                  <a:gd name="T15" fmla="*/ 2147483647 h 178"/>
                  <a:gd name="T16" fmla="*/ 2147483647 w 185"/>
                  <a:gd name="T17" fmla="*/ 2147483647 h 178"/>
                  <a:gd name="T18" fmla="*/ 2147483647 w 185"/>
                  <a:gd name="T19" fmla="*/ 2147483647 h 178"/>
                  <a:gd name="T20" fmla="*/ 2147483647 w 185"/>
                  <a:gd name="T21" fmla="*/ 2147483647 h 178"/>
                  <a:gd name="T22" fmla="*/ 2147483647 w 185"/>
                  <a:gd name="T23" fmla="*/ 2147483647 h 178"/>
                  <a:gd name="T24" fmla="*/ 2147483647 w 185"/>
                  <a:gd name="T25" fmla="*/ 2147483647 h 178"/>
                  <a:gd name="T26" fmla="*/ 2147483647 w 185"/>
                  <a:gd name="T27" fmla="*/ 2147483647 h 178"/>
                  <a:gd name="T28" fmla="*/ 2147483647 w 185"/>
                  <a:gd name="T29" fmla="*/ 2147483647 h 178"/>
                  <a:gd name="T30" fmla="*/ 2147483647 w 185"/>
                  <a:gd name="T31" fmla="*/ 2147483647 h 178"/>
                  <a:gd name="T32" fmla="*/ 2147483647 w 185"/>
                  <a:gd name="T33" fmla="*/ 2147483647 h 178"/>
                  <a:gd name="T34" fmla="*/ 2147483647 w 185"/>
                  <a:gd name="T35" fmla="*/ 2147483647 h 178"/>
                  <a:gd name="T36" fmla="*/ 2147483647 w 185"/>
                  <a:gd name="T37" fmla="*/ 2147483647 h 178"/>
                  <a:gd name="T38" fmla="*/ 2147483647 w 185"/>
                  <a:gd name="T39" fmla="*/ 2147483647 h 178"/>
                  <a:gd name="T40" fmla="*/ 2147483647 w 185"/>
                  <a:gd name="T41" fmla="*/ 2147483647 h 178"/>
                  <a:gd name="T42" fmla="*/ 2147483647 w 185"/>
                  <a:gd name="T43" fmla="*/ 2147483647 h 178"/>
                  <a:gd name="T44" fmla="*/ 2147483647 w 185"/>
                  <a:gd name="T45" fmla="*/ 2147483647 h 178"/>
                  <a:gd name="T46" fmla="*/ 2147483647 w 185"/>
                  <a:gd name="T47" fmla="*/ 2147483647 h 178"/>
                  <a:gd name="T48" fmla="*/ 2147483647 w 185"/>
                  <a:gd name="T49" fmla="*/ 2147483647 h 178"/>
                  <a:gd name="T50" fmla="*/ 2147483647 w 185"/>
                  <a:gd name="T51" fmla="*/ 2147483647 h 178"/>
                  <a:gd name="T52" fmla="*/ 2147483647 w 185"/>
                  <a:gd name="T53" fmla="*/ 2147483647 h 178"/>
                  <a:gd name="T54" fmla="*/ 2147483647 w 185"/>
                  <a:gd name="T55" fmla="*/ 2147483647 h 178"/>
                  <a:gd name="T56" fmla="*/ 2147483647 w 185"/>
                  <a:gd name="T57" fmla="*/ 2147483647 h 178"/>
                  <a:gd name="T58" fmla="*/ 2147483647 w 185"/>
                  <a:gd name="T59" fmla="*/ 2147483647 h 178"/>
                  <a:gd name="T60" fmla="*/ 2147483647 w 185"/>
                  <a:gd name="T61" fmla="*/ 2147483647 h 17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85"/>
                  <a:gd name="T94" fmla="*/ 0 h 178"/>
                  <a:gd name="T95" fmla="*/ 185 w 185"/>
                  <a:gd name="T96" fmla="*/ 178 h 17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85" h="178">
                    <a:moveTo>
                      <a:pt x="161" y="28"/>
                    </a:moveTo>
                    <a:cubicBezTo>
                      <a:pt x="147" y="26"/>
                      <a:pt x="155" y="17"/>
                      <a:pt x="135" y="15"/>
                    </a:cubicBezTo>
                    <a:cubicBezTo>
                      <a:pt x="127" y="9"/>
                      <a:pt x="119" y="15"/>
                      <a:pt x="111" y="16"/>
                    </a:cubicBezTo>
                    <a:cubicBezTo>
                      <a:pt x="97" y="23"/>
                      <a:pt x="105" y="22"/>
                      <a:pt x="89" y="19"/>
                    </a:cubicBezTo>
                    <a:cubicBezTo>
                      <a:pt x="86" y="17"/>
                      <a:pt x="81" y="18"/>
                      <a:pt x="78" y="15"/>
                    </a:cubicBezTo>
                    <a:cubicBezTo>
                      <a:pt x="77" y="14"/>
                      <a:pt x="78" y="11"/>
                      <a:pt x="77" y="10"/>
                    </a:cubicBezTo>
                    <a:cubicBezTo>
                      <a:pt x="76" y="8"/>
                      <a:pt x="74" y="8"/>
                      <a:pt x="72" y="7"/>
                    </a:cubicBezTo>
                    <a:cubicBezTo>
                      <a:pt x="68" y="1"/>
                      <a:pt x="67" y="0"/>
                      <a:pt x="60" y="3"/>
                    </a:cubicBezTo>
                    <a:cubicBezTo>
                      <a:pt x="56" y="8"/>
                      <a:pt x="53" y="10"/>
                      <a:pt x="48" y="13"/>
                    </a:cubicBezTo>
                    <a:cubicBezTo>
                      <a:pt x="44" y="20"/>
                      <a:pt x="41" y="18"/>
                      <a:pt x="35" y="21"/>
                    </a:cubicBezTo>
                    <a:cubicBezTo>
                      <a:pt x="28" y="18"/>
                      <a:pt x="21" y="17"/>
                      <a:pt x="14" y="16"/>
                    </a:cubicBezTo>
                    <a:cubicBezTo>
                      <a:pt x="0" y="20"/>
                      <a:pt x="0" y="31"/>
                      <a:pt x="14" y="34"/>
                    </a:cubicBezTo>
                    <a:cubicBezTo>
                      <a:pt x="20" y="44"/>
                      <a:pt x="19" y="55"/>
                      <a:pt x="32" y="58"/>
                    </a:cubicBezTo>
                    <a:cubicBezTo>
                      <a:pt x="33" y="64"/>
                      <a:pt x="37" y="71"/>
                      <a:pt x="41" y="76"/>
                    </a:cubicBezTo>
                    <a:cubicBezTo>
                      <a:pt x="43" y="84"/>
                      <a:pt x="42" y="87"/>
                      <a:pt x="50" y="88"/>
                    </a:cubicBezTo>
                    <a:cubicBezTo>
                      <a:pt x="56" y="91"/>
                      <a:pt x="62" y="94"/>
                      <a:pt x="68" y="96"/>
                    </a:cubicBezTo>
                    <a:cubicBezTo>
                      <a:pt x="73" y="102"/>
                      <a:pt x="78" y="108"/>
                      <a:pt x="86" y="109"/>
                    </a:cubicBezTo>
                    <a:cubicBezTo>
                      <a:pt x="90" y="118"/>
                      <a:pt x="91" y="125"/>
                      <a:pt x="101" y="127"/>
                    </a:cubicBezTo>
                    <a:cubicBezTo>
                      <a:pt x="102" y="134"/>
                      <a:pt x="104" y="137"/>
                      <a:pt x="108" y="142"/>
                    </a:cubicBezTo>
                    <a:cubicBezTo>
                      <a:pt x="107" y="153"/>
                      <a:pt x="106" y="158"/>
                      <a:pt x="104" y="168"/>
                    </a:cubicBezTo>
                    <a:cubicBezTo>
                      <a:pt x="108" y="174"/>
                      <a:pt x="113" y="172"/>
                      <a:pt x="116" y="178"/>
                    </a:cubicBezTo>
                    <a:cubicBezTo>
                      <a:pt x="121" y="177"/>
                      <a:pt x="126" y="175"/>
                      <a:pt x="131" y="174"/>
                    </a:cubicBezTo>
                    <a:cubicBezTo>
                      <a:pt x="132" y="168"/>
                      <a:pt x="131" y="163"/>
                      <a:pt x="129" y="157"/>
                    </a:cubicBezTo>
                    <a:cubicBezTo>
                      <a:pt x="134" y="154"/>
                      <a:pt x="137" y="152"/>
                      <a:pt x="140" y="147"/>
                    </a:cubicBezTo>
                    <a:cubicBezTo>
                      <a:pt x="142" y="138"/>
                      <a:pt x="143" y="133"/>
                      <a:pt x="152" y="130"/>
                    </a:cubicBezTo>
                    <a:cubicBezTo>
                      <a:pt x="162" y="123"/>
                      <a:pt x="157" y="115"/>
                      <a:pt x="170" y="114"/>
                    </a:cubicBezTo>
                    <a:cubicBezTo>
                      <a:pt x="179" y="110"/>
                      <a:pt x="179" y="109"/>
                      <a:pt x="180" y="100"/>
                    </a:cubicBezTo>
                    <a:cubicBezTo>
                      <a:pt x="179" y="93"/>
                      <a:pt x="177" y="91"/>
                      <a:pt x="170" y="88"/>
                    </a:cubicBezTo>
                    <a:cubicBezTo>
                      <a:pt x="176" y="82"/>
                      <a:pt x="181" y="82"/>
                      <a:pt x="185" y="73"/>
                    </a:cubicBezTo>
                    <a:cubicBezTo>
                      <a:pt x="178" y="72"/>
                      <a:pt x="173" y="59"/>
                      <a:pt x="170" y="52"/>
                    </a:cubicBezTo>
                    <a:cubicBezTo>
                      <a:pt x="169" y="48"/>
                      <a:pt x="168" y="28"/>
                      <a:pt x="161" y="28"/>
                    </a:cubicBez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70" name="Freeform 68"/>
              <p:cNvSpPr>
                <a:spLocks/>
              </p:cNvSpPr>
              <p:nvPr/>
            </p:nvSpPr>
            <p:spPr bwMode="gray">
              <a:xfrm>
                <a:off x="6601769" y="5370513"/>
                <a:ext cx="141288" cy="200025"/>
              </a:xfrm>
              <a:custGeom>
                <a:avLst/>
                <a:gdLst>
                  <a:gd name="T0" fmla="*/ 2147483647 w 100"/>
                  <a:gd name="T1" fmla="*/ 2147483647 h 130"/>
                  <a:gd name="T2" fmla="*/ 2147483647 w 100"/>
                  <a:gd name="T3" fmla="*/ 2147483647 h 130"/>
                  <a:gd name="T4" fmla="*/ 2147483647 w 100"/>
                  <a:gd name="T5" fmla="*/ 2147483647 h 130"/>
                  <a:gd name="T6" fmla="*/ 2147483647 w 100"/>
                  <a:gd name="T7" fmla="*/ 2147483647 h 130"/>
                  <a:gd name="T8" fmla="*/ 2147483647 w 100"/>
                  <a:gd name="T9" fmla="*/ 2147483647 h 130"/>
                  <a:gd name="T10" fmla="*/ 2147483647 w 100"/>
                  <a:gd name="T11" fmla="*/ 2147483647 h 130"/>
                  <a:gd name="T12" fmla="*/ 2147483647 w 100"/>
                  <a:gd name="T13" fmla="*/ 2147483647 h 130"/>
                  <a:gd name="T14" fmla="*/ 2147483647 w 100"/>
                  <a:gd name="T15" fmla="*/ 2147483647 h 130"/>
                  <a:gd name="T16" fmla="*/ 2147483647 w 100"/>
                  <a:gd name="T17" fmla="*/ 2147483647 h 130"/>
                  <a:gd name="T18" fmla="*/ 2147483647 w 100"/>
                  <a:gd name="T19" fmla="*/ 2147483647 h 130"/>
                  <a:gd name="T20" fmla="*/ 2147483647 w 100"/>
                  <a:gd name="T21" fmla="*/ 2147483647 h 130"/>
                  <a:gd name="T22" fmla="*/ 0 w 100"/>
                  <a:gd name="T23" fmla="*/ 2147483647 h 130"/>
                  <a:gd name="T24" fmla="*/ 2147483647 w 100"/>
                  <a:gd name="T25" fmla="*/ 2147483647 h 130"/>
                  <a:gd name="T26" fmla="*/ 2147483647 w 100"/>
                  <a:gd name="T27" fmla="*/ 2147483647 h 130"/>
                  <a:gd name="T28" fmla="*/ 2147483647 w 100"/>
                  <a:gd name="T29" fmla="*/ 2147483647 h 130"/>
                  <a:gd name="T30" fmla="*/ 2147483647 w 100"/>
                  <a:gd name="T31" fmla="*/ 2147483647 h 1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0"/>
                  <a:gd name="T49" fmla="*/ 0 h 130"/>
                  <a:gd name="T50" fmla="*/ 100 w 100"/>
                  <a:gd name="T51" fmla="*/ 130 h 1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0" h="130">
                    <a:moveTo>
                      <a:pt x="45" y="7"/>
                    </a:moveTo>
                    <a:cubicBezTo>
                      <a:pt x="57" y="8"/>
                      <a:pt x="59" y="9"/>
                      <a:pt x="69" y="11"/>
                    </a:cubicBezTo>
                    <a:cubicBezTo>
                      <a:pt x="71" y="24"/>
                      <a:pt x="73" y="25"/>
                      <a:pt x="87" y="28"/>
                    </a:cubicBezTo>
                    <a:cubicBezTo>
                      <a:pt x="93" y="32"/>
                      <a:pt x="94" y="38"/>
                      <a:pt x="100" y="43"/>
                    </a:cubicBezTo>
                    <a:cubicBezTo>
                      <a:pt x="92" y="49"/>
                      <a:pt x="93" y="50"/>
                      <a:pt x="94" y="61"/>
                    </a:cubicBezTo>
                    <a:cubicBezTo>
                      <a:pt x="91" y="80"/>
                      <a:pt x="70" y="62"/>
                      <a:pt x="82" y="74"/>
                    </a:cubicBezTo>
                    <a:cubicBezTo>
                      <a:pt x="85" y="90"/>
                      <a:pt x="86" y="95"/>
                      <a:pt x="70" y="98"/>
                    </a:cubicBezTo>
                    <a:cubicBezTo>
                      <a:pt x="64" y="108"/>
                      <a:pt x="70" y="123"/>
                      <a:pt x="60" y="130"/>
                    </a:cubicBezTo>
                    <a:cubicBezTo>
                      <a:pt x="48" y="127"/>
                      <a:pt x="55" y="125"/>
                      <a:pt x="46" y="119"/>
                    </a:cubicBezTo>
                    <a:cubicBezTo>
                      <a:pt x="39" y="106"/>
                      <a:pt x="37" y="100"/>
                      <a:pt x="22" y="97"/>
                    </a:cubicBezTo>
                    <a:cubicBezTo>
                      <a:pt x="17" y="95"/>
                      <a:pt x="13" y="92"/>
                      <a:pt x="9" y="89"/>
                    </a:cubicBezTo>
                    <a:cubicBezTo>
                      <a:pt x="3" y="78"/>
                      <a:pt x="7" y="81"/>
                      <a:pt x="0" y="76"/>
                    </a:cubicBezTo>
                    <a:cubicBezTo>
                      <a:pt x="1" y="69"/>
                      <a:pt x="8" y="65"/>
                      <a:pt x="12" y="58"/>
                    </a:cubicBezTo>
                    <a:cubicBezTo>
                      <a:pt x="12" y="50"/>
                      <a:pt x="11" y="42"/>
                      <a:pt x="13" y="35"/>
                    </a:cubicBezTo>
                    <a:cubicBezTo>
                      <a:pt x="13" y="33"/>
                      <a:pt x="34" y="20"/>
                      <a:pt x="39" y="19"/>
                    </a:cubicBezTo>
                    <a:cubicBezTo>
                      <a:pt x="40" y="14"/>
                      <a:pt x="52" y="0"/>
                      <a:pt x="45" y="7"/>
                    </a:cubicBezTo>
                    <a:close/>
                  </a:path>
                </a:pathLst>
              </a:custGeom>
              <a:solidFill>
                <a:schemeClr val="bg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5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8611528" y="4169962"/>
              <a:ext cx="198955" cy="177516"/>
              <a:chOff x="5414205" y="3312278"/>
              <a:chExt cx="135236" cy="135236"/>
            </a:xfrm>
          </p:grpSpPr>
          <p:sp>
            <p:nvSpPr>
              <p:cNvPr id="713" name="Ellipse 712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4" name="Ellipse 713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715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1" name="Gruppieren 50"/>
            <p:cNvGrpSpPr/>
            <p:nvPr/>
          </p:nvGrpSpPr>
          <p:grpSpPr>
            <a:xfrm>
              <a:off x="9199652" y="4085269"/>
              <a:ext cx="198955" cy="177516"/>
              <a:chOff x="5414205" y="3312278"/>
              <a:chExt cx="135236" cy="135236"/>
            </a:xfrm>
          </p:grpSpPr>
          <p:sp>
            <p:nvSpPr>
              <p:cNvPr id="710" name="Ellipse 709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1" name="Ellipse 710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712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3" name="Gruppieren 52"/>
            <p:cNvGrpSpPr/>
            <p:nvPr/>
          </p:nvGrpSpPr>
          <p:grpSpPr>
            <a:xfrm>
              <a:off x="9029368" y="3953142"/>
              <a:ext cx="198955" cy="177516"/>
              <a:chOff x="5414205" y="3312278"/>
              <a:chExt cx="135236" cy="135236"/>
            </a:xfrm>
          </p:grpSpPr>
          <p:sp>
            <p:nvSpPr>
              <p:cNvPr id="707" name="Ellipse 706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8" name="Ellipse 707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709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4" name="Gruppieren 53"/>
            <p:cNvGrpSpPr/>
            <p:nvPr/>
          </p:nvGrpSpPr>
          <p:grpSpPr>
            <a:xfrm>
              <a:off x="9094499" y="3731653"/>
              <a:ext cx="198955" cy="177516"/>
              <a:chOff x="5414205" y="3312278"/>
              <a:chExt cx="135236" cy="135236"/>
            </a:xfrm>
          </p:grpSpPr>
          <p:sp>
            <p:nvSpPr>
              <p:cNvPr id="704" name="Ellipse 703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5" name="Ellipse 704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706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5" name="Gruppieren 54"/>
            <p:cNvGrpSpPr/>
            <p:nvPr/>
          </p:nvGrpSpPr>
          <p:grpSpPr>
            <a:xfrm>
              <a:off x="9241463" y="3519464"/>
              <a:ext cx="198955" cy="177516"/>
              <a:chOff x="5414205" y="3312278"/>
              <a:chExt cx="135236" cy="135236"/>
            </a:xfrm>
          </p:grpSpPr>
          <p:sp>
            <p:nvSpPr>
              <p:cNvPr id="701" name="Ellipse 700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2" name="Ellipse 701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703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6" name="Gruppieren 55"/>
            <p:cNvGrpSpPr/>
            <p:nvPr/>
          </p:nvGrpSpPr>
          <p:grpSpPr>
            <a:xfrm>
              <a:off x="9193460" y="3871138"/>
              <a:ext cx="198955" cy="177516"/>
              <a:chOff x="5573548" y="2957818"/>
              <a:chExt cx="135236" cy="135236"/>
            </a:xfrm>
          </p:grpSpPr>
          <p:sp>
            <p:nvSpPr>
              <p:cNvPr id="686" name="Ellipse 685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87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688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689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690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91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92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93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94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95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96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97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98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99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700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61" name="Gruppieren 60"/>
            <p:cNvGrpSpPr/>
            <p:nvPr/>
          </p:nvGrpSpPr>
          <p:grpSpPr>
            <a:xfrm>
              <a:off x="8932718" y="3809006"/>
              <a:ext cx="198955" cy="177516"/>
              <a:chOff x="5573548" y="2957818"/>
              <a:chExt cx="135236" cy="135236"/>
            </a:xfrm>
          </p:grpSpPr>
          <p:sp>
            <p:nvSpPr>
              <p:cNvPr id="671" name="Ellipse 670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72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673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674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675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76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77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78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79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80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81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82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83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84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85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62" name="Gruppieren 61"/>
            <p:cNvGrpSpPr/>
            <p:nvPr/>
          </p:nvGrpSpPr>
          <p:grpSpPr>
            <a:xfrm>
              <a:off x="9081905" y="4242049"/>
              <a:ext cx="198955" cy="177516"/>
              <a:chOff x="5573548" y="2957818"/>
              <a:chExt cx="135236" cy="135236"/>
            </a:xfrm>
          </p:grpSpPr>
          <p:sp>
            <p:nvSpPr>
              <p:cNvPr id="656" name="Ellipse 655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57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658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659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660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1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2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3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4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5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6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7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8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69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70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63" name="Gruppieren 62"/>
            <p:cNvGrpSpPr/>
            <p:nvPr/>
          </p:nvGrpSpPr>
          <p:grpSpPr>
            <a:xfrm>
              <a:off x="9324905" y="4267263"/>
              <a:ext cx="198955" cy="177516"/>
              <a:chOff x="5573548" y="2957818"/>
              <a:chExt cx="135236" cy="135236"/>
            </a:xfrm>
          </p:grpSpPr>
          <p:sp>
            <p:nvSpPr>
              <p:cNvPr id="641" name="Ellipse 640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42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643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644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645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46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47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48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49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50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51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52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53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54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55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64" name="Gruppieren 63"/>
            <p:cNvGrpSpPr/>
            <p:nvPr/>
          </p:nvGrpSpPr>
          <p:grpSpPr>
            <a:xfrm>
              <a:off x="9427650" y="4109659"/>
              <a:ext cx="198955" cy="177516"/>
              <a:chOff x="5573548" y="2957818"/>
              <a:chExt cx="135236" cy="135236"/>
            </a:xfrm>
          </p:grpSpPr>
          <p:sp>
            <p:nvSpPr>
              <p:cNvPr id="626" name="Ellipse 625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27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628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629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630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31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32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33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34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35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36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37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38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39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40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65" name="Gruppieren 64"/>
            <p:cNvGrpSpPr/>
            <p:nvPr/>
          </p:nvGrpSpPr>
          <p:grpSpPr>
            <a:xfrm>
              <a:off x="9518616" y="4228572"/>
              <a:ext cx="198955" cy="177516"/>
              <a:chOff x="5414205" y="3312278"/>
              <a:chExt cx="135236" cy="135236"/>
            </a:xfrm>
          </p:grpSpPr>
          <p:sp>
            <p:nvSpPr>
              <p:cNvPr id="623" name="Ellipse 622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4" name="Ellipse 623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625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6" name="Gruppieren 65"/>
            <p:cNvGrpSpPr/>
            <p:nvPr/>
          </p:nvGrpSpPr>
          <p:grpSpPr>
            <a:xfrm>
              <a:off x="9565007" y="3501713"/>
              <a:ext cx="198955" cy="177516"/>
              <a:chOff x="5573548" y="2957818"/>
              <a:chExt cx="135236" cy="135236"/>
            </a:xfrm>
          </p:grpSpPr>
          <p:sp>
            <p:nvSpPr>
              <p:cNvPr id="608" name="Ellipse 607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09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610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611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612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13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14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15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16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17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18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19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20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21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22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67" name="Gruppieren 66"/>
            <p:cNvGrpSpPr/>
            <p:nvPr/>
          </p:nvGrpSpPr>
          <p:grpSpPr>
            <a:xfrm>
              <a:off x="9071259" y="3545550"/>
              <a:ext cx="198955" cy="177516"/>
              <a:chOff x="5573548" y="2957818"/>
              <a:chExt cx="135236" cy="135236"/>
            </a:xfrm>
          </p:grpSpPr>
          <p:sp>
            <p:nvSpPr>
              <p:cNvPr id="593" name="Ellipse 592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594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595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596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597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98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99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00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01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02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03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04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05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06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07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68" name="Gruppieren 67"/>
            <p:cNvGrpSpPr/>
            <p:nvPr/>
          </p:nvGrpSpPr>
          <p:grpSpPr>
            <a:xfrm>
              <a:off x="9649566" y="3745667"/>
              <a:ext cx="198955" cy="177516"/>
              <a:chOff x="5573548" y="2957818"/>
              <a:chExt cx="135236" cy="135236"/>
            </a:xfrm>
          </p:grpSpPr>
          <p:sp>
            <p:nvSpPr>
              <p:cNvPr id="578" name="Ellipse 577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579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580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581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582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83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84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85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86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87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88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89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90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91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92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69" name="Gruppieren 68"/>
            <p:cNvGrpSpPr/>
            <p:nvPr/>
          </p:nvGrpSpPr>
          <p:grpSpPr>
            <a:xfrm>
              <a:off x="9453791" y="3868956"/>
              <a:ext cx="198955" cy="177516"/>
              <a:chOff x="5414205" y="3312278"/>
              <a:chExt cx="135236" cy="135236"/>
            </a:xfrm>
          </p:grpSpPr>
          <p:sp>
            <p:nvSpPr>
              <p:cNvPr id="575" name="Ellipse 574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6" name="Ellipse 575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77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0" name="Gruppieren 69"/>
            <p:cNvGrpSpPr/>
            <p:nvPr/>
          </p:nvGrpSpPr>
          <p:grpSpPr>
            <a:xfrm>
              <a:off x="9397064" y="3668876"/>
              <a:ext cx="198955" cy="177516"/>
              <a:chOff x="5414205" y="3312278"/>
              <a:chExt cx="135236" cy="135236"/>
            </a:xfrm>
          </p:grpSpPr>
          <p:sp>
            <p:nvSpPr>
              <p:cNvPr id="572" name="Ellipse 571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3" name="Ellipse 572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74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1" name="Gruppieren 70"/>
            <p:cNvGrpSpPr/>
            <p:nvPr/>
          </p:nvGrpSpPr>
          <p:grpSpPr>
            <a:xfrm>
              <a:off x="8672383" y="4445320"/>
              <a:ext cx="198955" cy="177516"/>
              <a:chOff x="5414205" y="3312278"/>
              <a:chExt cx="135236" cy="135236"/>
            </a:xfrm>
          </p:grpSpPr>
          <p:sp>
            <p:nvSpPr>
              <p:cNvPr id="569" name="Ellipse 568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0" name="Ellipse 569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71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2" name="Gruppieren 71"/>
            <p:cNvGrpSpPr/>
            <p:nvPr/>
          </p:nvGrpSpPr>
          <p:grpSpPr>
            <a:xfrm>
              <a:off x="8729669" y="4713403"/>
              <a:ext cx="198955" cy="177516"/>
              <a:chOff x="5414205" y="3312278"/>
              <a:chExt cx="135236" cy="135236"/>
            </a:xfrm>
          </p:grpSpPr>
          <p:sp>
            <p:nvSpPr>
              <p:cNvPr id="566" name="Ellipse 565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7" name="Ellipse 566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68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3" name="Gruppieren 72"/>
            <p:cNvGrpSpPr/>
            <p:nvPr/>
          </p:nvGrpSpPr>
          <p:grpSpPr>
            <a:xfrm>
              <a:off x="8436435" y="4871962"/>
              <a:ext cx="198955" cy="177516"/>
              <a:chOff x="5414205" y="3312278"/>
              <a:chExt cx="135236" cy="135236"/>
            </a:xfrm>
          </p:grpSpPr>
          <p:sp>
            <p:nvSpPr>
              <p:cNvPr id="563" name="Ellipse 562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4" name="Ellipse 563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65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4" name="Gruppieren 73"/>
            <p:cNvGrpSpPr/>
            <p:nvPr/>
          </p:nvGrpSpPr>
          <p:grpSpPr>
            <a:xfrm>
              <a:off x="8257376" y="4676690"/>
              <a:ext cx="198955" cy="177516"/>
              <a:chOff x="5414205" y="3312278"/>
              <a:chExt cx="135236" cy="135236"/>
            </a:xfrm>
          </p:grpSpPr>
          <p:sp>
            <p:nvSpPr>
              <p:cNvPr id="560" name="Ellipse 559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1" name="Ellipse 560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62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5" name="Gruppieren 74"/>
            <p:cNvGrpSpPr/>
            <p:nvPr/>
          </p:nvGrpSpPr>
          <p:grpSpPr>
            <a:xfrm>
              <a:off x="8499968" y="4602100"/>
              <a:ext cx="198955" cy="177516"/>
              <a:chOff x="5414205" y="3312278"/>
              <a:chExt cx="135236" cy="135236"/>
            </a:xfrm>
          </p:grpSpPr>
          <p:sp>
            <p:nvSpPr>
              <p:cNvPr id="557" name="Ellipse 556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8" name="Ellipse 557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59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6" name="Gruppieren 75"/>
            <p:cNvGrpSpPr/>
            <p:nvPr/>
          </p:nvGrpSpPr>
          <p:grpSpPr>
            <a:xfrm>
              <a:off x="8404563" y="4344520"/>
              <a:ext cx="198955" cy="177516"/>
              <a:chOff x="5414205" y="3312278"/>
              <a:chExt cx="135236" cy="135236"/>
            </a:xfrm>
          </p:grpSpPr>
          <p:sp>
            <p:nvSpPr>
              <p:cNvPr id="554" name="Ellipse 553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5" name="Ellipse 554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56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7" name="Gruppieren 76"/>
            <p:cNvGrpSpPr/>
            <p:nvPr/>
          </p:nvGrpSpPr>
          <p:grpSpPr>
            <a:xfrm>
              <a:off x="8237368" y="4503316"/>
              <a:ext cx="198955" cy="177516"/>
              <a:chOff x="5414205" y="3312278"/>
              <a:chExt cx="135236" cy="135236"/>
            </a:xfrm>
          </p:grpSpPr>
          <p:sp>
            <p:nvSpPr>
              <p:cNvPr id="551" name="Ellipse 550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2" name="Ellipse 551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53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9" name="Gruppieren 78"/>
            <p:cNvGrpSpPr/>
            <p:nvPr/>
          </p:nvGrpSpPr>
          <p:grpSpPr>
            <a:xfrm>
              <a:off x="8161512" y="4303976"/>
              <a:ext cx="198955" cy="177516"/>
              <a:chOff x="5414205" y="3312278"/>
              <a:chExt cx="135236" cy="135236"/>
            </a:xfrm>
          </p:grpSpPr>
          <p:sp>
            <p:nvSpPr>
              <p:cNvPr id="548" name="Ellipse 547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9" name="Ellipse 548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50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80" name="Gruppieren 79"/>
            <p:cNvGrpSpPr/>
            <p:nvPr/>
          </p:nvGrpSpPr>
          <p:grpSpPr>
            <a:xfrm>
              <a:off x="8320910" y="4104225"/>
              <a:ext cx="198955" cy="177516"/>
              <a:chOff x="5414205" y="3312278"/>
              <a:chExt cx="135236" cy="135236"/>
            </a:xfrm>
          </p:grpSpPr>
          <p:sp>
            <p:nvSpPr>
              <p:cNvPr id="545" name="Ellipse 544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6" name="Ellipse 545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47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81" name="Gruppieren 80"/>
            <p:cNvGrpSpPr/>
            <p:nvPr/>
          </p:nvGrpSpPr>
          <p:grpSpPr>
            <a:xfrm>
              <a:off x="8870293" y="4187714"/>
              <a:ext cx="198955" cy="177516"/>
              <a:chOff x="5414205" y="3312278"/>
              <a:chExt cx="135236" cy="135236"/>
            </a:xfrm>
          </p:grpSpPr>
          <p:sp>
            <p:nvSpPr>
              <p:cNvPr id="542" name="Ellipse 541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3" name="Ellipse 542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544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82" name="Gruppieren 81"/>
            <p:cNvGrpSpPr/>
            <p:nvPr/>
          </p:nvGrpSpPr>
          <p:grpSpPr>
            <a:xfrm>
              <a:off x="7948324" y="4237983"/>
              <a:ext cx="198955" cy="177516"/>
              <a:chOff x="5573548" y="2957818"/>
              <a:chExt cx="135236" cy="135236"/>
            </a:xfrm>
          </p:grpSpPr>
          <p:sp>
            <p:nvSpPr>
              <p:cNvPr id="527" name="Ellipse 526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528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529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530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531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32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33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34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35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36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37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38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39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40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41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83" name="Gruppieren 82"/>
            <p:cNvGrpSpPr/>
            <p:nvPr/>
          </p:nvGrpSpPr>
          <p:grpSpPr>
            <a:xfrm>
              <a:off x="8302137" y="4237983"/>
              <a:ext cx="198955" cy="177516"/>
              <a:chOff x="5573548" y="2957818"/>
              <a:chExt cx="135236" cy="135236"/>
            </a:xfrm>
          </p:grpSpPr>
          <p:sp>
            <p:nvSpPr>
              <p:cNvPr id="512" name="Ellipse 511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513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514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515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516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17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18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19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20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21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22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23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24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25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26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84" name="Gruppieren 83"/>
            <p:cNvGrpSpPr/>
            <p:nvPr/>
          </p:nvGrpSpPr>
          <p:grpSpPr>
            <a:xfrm>
              <a:off x="8442559" y="4469990"/>
              <a:ext cx="198955" cy="177516"/>
              <a:chOff x="5573548" y="2957818"/>
              <a:chExt cx="135236" cy="135236"/>
            </a:xfrm>
          </p:grpSpPr>
          <p:sp>
            <p:nvSpPr>
              <p:cNvPr id="497" name="Ellipse 496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498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499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500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501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02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03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04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05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06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07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08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09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10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11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85" name="Gruppieren 84"/>
            <p:cNvGrpSpPr/>
            <p:nvPr/>
          </p:nvGrpSpPr>
          <p:grpSpPr>
            <a:xfrm>
              <a:off x="8599446" y="4328044"/>
              <a:ext cx="198955" cy="177516"/>
              <a:chOff x="5573548" y="2957818"/>
              <a:chExt cx="135236" cy="135236"/>
            </a:xfrm>
          </p:grpSpPr>
          <p:sp>
            <p:nvSpPr>
              <p:cNvPr id="482" name="Ellipse 481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483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484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485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486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87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88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89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90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91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92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93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94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95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96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86" name="Gruppieren 85"/>
            <p:cNvGrpSpPr/>
            <p:nvPr/>
          </p:nvGrpSpPr>
          <p:grpSpPr>
            <a:xfrm>
              <a:off x="8768358" y="4312574"/>
              <a:ext cx="198955" cy="177516"/>
              <a:chOff x="5573548" y="2957818"/>
              <a:chExt cx="135236" cy="135236"/>
            </a:xfrm>
          </p:grpSpPr>
          <p:sp>
            <p:nvSpPr>
              <p:cNvPr id="467" name="Ellipse 466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468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469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470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471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72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73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74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75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76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77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78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79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80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81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87" name="Gruppieren 86"/>
            <p:cNvGrpSpPr/>
            <p:nvPr/>
          </p:nvGrpSpPr>
          <p:grpSpPr>
            <a:xfrm>
              <a:off x="8572073" y="4800957"/>
              <a:ext cx="198955" cy="177516"/>
              <a:chOff x="5573548" y="2957818"/>
              <a:chExt cx="135236" cy="135236"/>
            </a:xfrm>
          </p:grpSpPr>
          <p:sp>
            <p:nvSpPr>
              <p:cNvPr id="452" name="Ellipse 451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453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454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455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456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57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58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59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60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61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62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63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64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65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66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88" name="Gruppieren 87"/>
            <p:cNvGrpSpPr/>
            <p:nvPr/>
          </p:nvGrpSpPr>
          <p:grpSpPr>
            <a:xfrm>
              <a:off x="8263939" y="4851023"/>
              <a:ext cx="198955" cy="177516"/>
              <a:chOff x="5573548" y="2957818"/>
              <a:chExt cx="135236" cy="135236"/>
            </a:xfrm>
          </p:grpSpPr>
          <p:sp>
            <p:nvSpPr>
              <p:cNvPr id="437" name="Ellipse 436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438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439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440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441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42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43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44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45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46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47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48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49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50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51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89" name="Gruppieren 88"/>
            <p:cNvGrpSpPr/>
            <p:nvPr/>
          </p:nvGrpSpPr>
          <p:grpSpPr>
            <a:xfrm>
              <a:off x="8517688" y="3989855"/>
              <a:ext cx="198955" cy="177516"/>
              <a:chOff x="5414205" y="3312278"/>
              <a:chExt cx="135236" cy="135236"/>
            </a:xfrm>
          </p:grpSpPr>
          <p:sp>
            <p:nvSpPr>
              <p:cNvPr id="434" name="Ellipse 433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5" name="Ellipse 434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436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0" name="Gruppieren 89"/>
            <p:cNvGrpSpPr/>
            <p:nvPr/>
          </p:nvGrpSpPr>
          <p:grpSpPr>
            <a:xfrm>
              <a:off x="8478183" y="4137724"/>
              <a:ext cx="198955" cy="177516"/>
              <a:chOff x="5573548" y="2957818"/>
              <a:chExt cx="135236" cy="135236"/>
            </a:xfrm>
          </p:grpSpPr>
          <p:sp>
            <p:nvSpPr>
              <p:cNvPr id="419" name="Ellipse 418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420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421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422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423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24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25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26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27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28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29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30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31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32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33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91" name="Gruppieren 90"/>
            <p:cNvGrpSpPr/>
            <p:nvPr/>
          </p:nvGrpSpPr>
          <p:grpSpPr>
            <a:xfrm>
              <a:off x="8805906" y="4587932"/>
              <a:ext cx="198955" cy="177516"/>
              <a:chOff x="5573548" y="2957818"/>
              <a:chExt cx="135236" cy="135236"/>
            </a:xfrm>
          </p:grpSpPr>
          <p:sp>
            <p:nvSpPr>
              <p:cNvPr id="404" name="Ellipse 403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405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406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407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408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09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10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11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12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13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14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15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16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17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418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92" name="Gruppieren 91"/>
            <p:cNvGrpSpPr/>
            <p:nvPr/>
          </p:nvGrpSpPr>
          <p:grpSpPr>
            <a:xfrm>
              <a:off x="7908323" y="3930038"/>
              <a:ext cx="198955" cy="177516"/>
              <a:chOff x="5414205" y="3312278"/>
              <a:chExt cx="135236" cy="135236"/>
            </a:xfrm>
          </p:grpSpPr>
          <p:sp>
            <p:nvSpPr>
              <p:cNvPr id="401" name="Ellipse 400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2" name="Ellipse 401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403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3" name="Gruppieren 92"/>
            <p:cNvGrpSpPr/>
            <p:nvPr/>
          </p:nvGrpSpPr>
          <p:grpSpPr>
            <a:xfrm>
              <a:off x="8132532" y="3838318"/>
              <a:ext cx="198955" cy="177516"/>
              <a:chOff x="5414205" y="3312278"/>
              <a:chExt cx="135236" cy="135236"/>
            </a:xfrm>
          </p:grpSpPr>
          <p:sp>
            <p:nvSpPr>
              <p:cNvPr id="398" name="Ellipse 397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9" name="Ellipse 398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400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4" name="Gruppieren 93"/>
            <p:cNvGrpSpPr/>
            <p:nvPr/>
          </p:nvGrpSpPr>
          <p:grpSpPr>
            <a:xfrm>
              <a:off x="8309992" y="3672033"/>
              <a:ext cx="198955" cy="177516"/>
              <a:chOff x="5414205" y="3312278"/>
              <a:chExt cx="135236" cy="135236"/>
            </a:xfrm>
          </p:grpSpPr>
          <p:sp>
            <p:nvSpPr>
              <p:cNvPr id="395" name="Ellipse 394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6" name="Ellipse 395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97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5" name="Gruppieren 94"/>
            <p:cNvGrpSpPr/>
            <p:nvPr/>
          </p:nvGrpSpPr>
          <p:grpSpPr>
            <a:xfrm>
              <a:off x="8058216" y="3538573"/>
              <a:ext cx="198955" cy="177516"/>
              <a:chOff x="5414205" y="3312278"/>
              <a:chExt cx="135236" cy="135236"/>
            </a:xfrm>
          </p:grpSpPr>
          <p:sp>
            <p:nvSpPr>
              <p:cNvPr id="392" name="Ellipse 391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3" name="Ellipse 392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94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6" name="Gruppieren 95"/>
            <p:cNvGrpSpPr/>
            <p:nvPr/>
          </p:nvGrpSpPr>
          <p:grpSpPr>
            <a:xfrm>
              <a:off x="8039465" y="3330733"/>
              <a:ext cx="198955" cy="177516"/>
              <a:chOff x="5414205" y="3312278"/>
              <a:chExt cx="135236" cy="135236"/>
            </a:xfrm>
          </p:grpSpPr>
          <p:sp>
            <p:nvSpPr>
              <p:cNvPr id="389" name="Ellipse 388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0" name="Ellipse 389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91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7" name="Gruppieren 96"/>
            <p:cNvGrpSpPr/>
            <p:nvPr/>
          </p:nvGrpSpPr>
          <p:grpSpPr>
            <a:xfrm>
              <a:off x="8216602" y="3438170"/>
              <a:ext cx="198955" cy="177516"/>
              <a:chOff x="5573548" y="2957818"/>
              <a:chExt cx="135236" cy="135236"/>
            </a:xfrm>
          </p:grpSpPr>
          <p:sp>
            <p:nvSpPr>
              <p:cNvPr id="374" name="Ellipse 373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375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376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377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378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79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80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81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82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83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84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85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86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87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88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98" name="Gruppieren 97"/>
            <p:cNvGrpSpPr/>
            <p:nvPr/>
          </p:nvGrpSpPr>
          <p:grpSpPr>
            <a:xfrm>
              <a:off x="8123315" y="3679659"/>
              <a:ext cx="198955" cy="177516"/>
              <a:chOff x="5573548" y="2957818"/>
              <a:chExt cx="135236" cy="135236"/>
            </a:xfrm>
          </p:grpSpPr>
          <p:sp>
            <p:nvSpPr>
              <p:cNvPr id="359" name="Ellipse 358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360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361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362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363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64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65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66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67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68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69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70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71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72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73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99" name="Gruppieren 98"/>
            <p:cNvGrpSpPr/>
            <p:nvPr/>
          </p:nvGrpSpPr>
          <p:grpSpPr>
            <a:xfrm>
              <a:off x="8309992" y="3838034"/>
              <a:ext cx="198955" cy="177516"/>
              <a:chOff x="5573548" y="2957818"/>
              <a:chExt cx="135236" cy="135236"/>
            </a:xfrm>
          </p:grpSpPr>
          <p:sp>
            <p:nvSpPr>
              <p:cNvPr id="344" name="Ellipse 343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345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346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347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348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49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50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51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52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53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54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55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56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57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58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00" name="Gruppieren 99"/>
            <p:cNvGrpSpPr/>
            <p:nvPr/>
          </p:nvGrpSpPr>
          <p:grpSpPr>
            <a:xfrm>
              <a:off x="9078166" y="4455237"/>
              <a:ext cx="198955" cy="177516"/>
              <a:chOff x="5414205" y="3312278"/>
              <a:chExt cx="135236" cy="135236"/>
            </a:xfrm>
          </p:grpSpPr>
          <p:sp>
            <p:nvSpPr>
              <p:cNvPr id="341" name="Ellipse 340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2" name="Ellipse 341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43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1" name="Gruppieren 100"/>
            <p:cNvGrpSpPr/>
            <p:nvPr/>
          </p:nvGrpSpPr>
          <p:grpSpPr>
            <a:xfrm>
              <a:off x="9225428" y="4454586"/>
              <a:ext cx="198955" cy="177516"/>
              <a:chOff x="5573548" y="2957818"/>
              <a:chExt cx="135236" cy="135236"/>
            </a:xfrm>
          </p:grpSpPr>
          <p:sp>
            <p:nvSpPr>
              <p:cNvPr id="326" name="Ellipse 325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327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328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329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330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31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32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33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34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35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36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37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38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39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40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02" name="Gruppieren 101"/>
            <p:cNvGrpSpPr/>
            <p:nvPr/>
          </p:nvGrpSpPr>
          <p:grpSpPr>
            <a:xfrm>
              <a:off x="8813008" y="3646011"/>
              <a:ext cx="198955" cy="177516"/>
              <a:chOff x="5573548" y="2957818"/>
              <a:chExt cx="135236" cy="135236"/>
            </a:xfrm>
          </p:grpSpPr>
          <p:sp>
            <p:nvSpPr>
              <p:cNvPr id="311" name="Ellipse 310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312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313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314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315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16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17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18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19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20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21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22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23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24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25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03" name="Gruppieren 102"/>
            <p:cNvGrpSpPr/>
            <p:nvPr/>
          </p:nvGrpSpPr>
          <p:grpSpPr>
            <a:xfrm>
              <a:off x="8620334" y="3696560"/>
              <a:ext cx="198955" cy="177516"/>
              <a:chOff x="5414205" y="3312278"/>
              <a:chExt cx="135236" cy="135236"/>
            </a:xfrm>
          </p:grpSpPr>
          <p:sp>
            <p:nvSpPr>
              <p:cNvPr id="308" name="Ellipse 307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9" name="Ellipse 308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10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1" name="Gruppieren 120"/>
            <p:cNvGrpSpPr/>
            <p:nvPr/>
          </p:nvGrpSpPr>
          <p:grpSpPr>
            <a:xfrm>
              <a:off x="8723011" y="3905098"/>
              <a:ext cx="198955" cy="177516"/>
              <a:chOff x="5414205" y="3312278"/>
              <a:chExt cx="135236" cy="135236"/>
            </a:xfrm>
          </p:grpSpPr>
          <p:sp>
            <p:nvSpPr>
              <p:cNvPr id="305" name="Ellipse 304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6" name="Ellipse 305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07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2" name="Gruppieren 121"/>
            <p:cNvGrpSpPr/>
            <p:nvPr/>
          </p:nvGrpSpPr>
          <p:grpSpPr>
            <a:xfrm>
              <a:off x="9713615" y="4396948"/>
              <a:ext cx="198955" cy="177516"/>
              <a:chOff x="5414205" y="3312278"/>
              <a:chExt cx="135236" cy="135236"/>
            </a:xfrm>
          </p:grpSpPr>
          <p:sp>
            <p:nvSpPr>
              <p:cNvPr id="302" name="Ellipse 301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3" name="Ellipse 302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04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3" name="Gruppieren 122"/>
            <p:cNvGrpSpPr/>
            <p:nvPr/>
          </p:nvGrpSpPr>
          <p:grpSpPr>
            <a:xfrm>
              <a:off x="9824560" y="4279829"/>
              <a:ext cx="198955" cy="177516"/>
              <a:chOff x="5573548" y="2957818"/>
              <a:chExt cx="135236" cy="135236"/>
            </a:xfrm>
          </p:grpSpPr>
          <p:sp>
            <p:nvSpPr>
              <p:cNvPr id="287" name="Ellipse 286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88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289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290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291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2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3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4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5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6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7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8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9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00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01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24" name="Gruppieren 123"/>
            <p:cNvGrpSpPr/>
            <p:nvPr/>
          </p:nvGrpSpPr>
          <p:grpSpPr>
            <a:xfrm>
              <a:off x="9888986" y="3537547"/>
              <a:ext cx="198955" cy="177516"/>
              <a:chOff x="5573548" y="2957818"/>
              <a:chExt cx="135236" cy="135236"/>
            </a:xfrm>
          </p:grpSpPr>
          <p:sp>
            <p:nvSpPr>
              <p:cNvPr id="272" name="Ellipse 271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73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274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275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276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77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78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79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80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81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82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83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84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85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86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25" name="Gruppieren 124"/>
            <p:cNvGrpSpPr/>
            <p:nvPr/>
          </p:nvGrpSpPr>
          <p:grpSpPr>
            <a:xfrm>
              <a:off x="10382036" y="3646011"/>
              <a:ext cx="198955" cy="177516"/>
              <a:chOff x="5573548" y="2957818"/>
              <a:chExt cx="135236" cy="135236"/>
            </a:xfrm>
          </p:grpSpPr>
          <p:sp>
            <p:nvSpPr>
              <p:cNvPr id="257" name="Ellipse 256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58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259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260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261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62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63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64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65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66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67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68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69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70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71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26" name="Gruppieren 125"/>
            <p:cNvGrpSpPr/>
            <p:nvPr/>
          </p:nvGrpSpPr>
          <p:grpSpPr>
            <a:xfrm>
              <a:off x="10315654" y="3954236"/>
              <a:ext cx="198955" cy="177516"/>
              <a:chOff x="5573548" y="2957818"/>
              <a:chExt cx="135236" cy="135236"/>
            </a:xfrm>
          </p:grpSpPr>
          <p:sp>
            <p:nvSpPr>
              <p:cNvPr id="242" name="Ellipse 241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43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244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245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246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47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48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49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50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51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52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53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54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55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56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27" name="Gruppieren 126"/>
            <p:cNvGrpSpPr/>
            <p:nvPr/>
          </p:nvGrpSpPr>
          <p:grpSpPr>
            <a:xfrm>
              <a:off x="10143954" y="3496583"/>
              <a:ext cx="198955" cy="177516"/>
              <a:chOff x="5414205" y="3312278"/>
              <a:chExt cx="135236" cy="135236"/>
            </a:xfrm>
          </p:grpSpPr>
          <p:sp>
            <p:nvSpPr>
              <p:cNvPr id="239" name="Ellipse 238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0" name="Ellipse 239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41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8" name="Gruppieren 127"/>
            <p:cNvGrpSpPr/>
            <p:nvPr/>
          </p:nvGrpSpPr>
          <p:grpSpPr>
            <a:xfrm>
              <a:off x="10125867" y="3788479"/>
              <a:ext cx="198955" cy="177516"/>
              <a:chOff x="5414205" y="3312278"/>
              <a:chExt cx="135236" cy="135236"/>
            </a:xfrm>
          </p:grpSpPr>
          <p:sp>
            <p:nvSpPr>
              <p:cNvPr id="236" name="Ellipse 235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7" name="Ellipse 236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38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9" name="Gruppieren 128"/>
            <p:cNvGrpSpPr/>
            <p:nvPr/>
          </p:nvGrpSpPr>
          <p:grpSpPr>
            <a:xfrm>
              <a:off x="10517567" y="3881722"/>
              <a:ext cx="198955" cy="177516"/>
              <a:chOff x="5414205" y="3312278"/>
              <a:chExt cx="135236" cy="135236"/>
            </a:xfrm>
          </p:grpSpPr>
          <p:sp>
            <p:nvSpPr>
              <p:cNvPr id="233" name="Ellipse 232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4" name="Ellipse 233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35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0" name="Gruppieren 129"/>
            <p:cNvGrpSpPr/>
            <p:nvPr/>
          </p:nvGrpSpPr>
          <p:grpSpPr>
            <a:xfrm>
              <a:off x="9656925" y="2586963"/>
              <a:ext cx="198955" cy="177516"/>
              <a:chOff x="5414205" y="3312278"/>
              <a:chExt cx="135236" cy="135236"/>
            </a:xfrm>
          </p:grpSpPr>
          <p:sp>
            <p:nvSpPr>
              <p:cNvPr id="230" name="Ellipse 229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1" name="Ellipse 230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32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1" name="Gruppieren 130"/>
            <p:cNvGrpSpPr/>
            <p:nvPr/>
          </p:nvGrpSpPr>
          <p:grpSpPr>
            <a:xfrm>
              <a:off x="9841564" y="2405508"/>
              <a:ext cx="198955" cy="177516"/>
              <a:chOff x="5573548" y="2957818"/>
              <a:chExt cx="135236" cy="135236"/>
            </a:xfrm>
          </p:grpSpPr>
          <p:sp>
            <p:nvSpPr>
              <p:cNvPr id="215" name="Ellipse 214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16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217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218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219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0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1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2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3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4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5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6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7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8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29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32" name="Gruppieren 131"/>
            <p:cNvGrpSpPr/>
            <p:nvPr/>
          </p:nvGrpSpPr>
          <p:grpSpPr>
            <a:xfrm>
              <a:off x="8993222" y="2435982"/>
              <a:ext cx="198955" cy="177516"/>
              <a:chOff x="5414205" y="3312278"/>
              <a:chExt cx="135236" cy="135236"/>
            </a:xfrm>
          </p:grpSpPr>
          <p:sp>
            <p:nvSpPr>
              <p:cNvPr id="212" name="Ellipse 211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3" name="Ellipse 212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14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3" name="Gruppieren 132"/>
            <p:cNvGrpSpPr/>
            <p:nvPr/>
          </p:nvGrpSpPr>
          <p:grpSpPr>
            <a:xfrm>
              <a:off x="9177860" y="2254527"/>
              <a:ext cx="198955" cy="177516"/>
              <a:chOff x="5573548" y="2957818"/>
              <a:chExt cx="135236" cy="135236"/>
            </a:xfrm>
          </p:grpSpPr>
          <p:sp>
            <p:nvSpPr>
              <p:cNvPr id="197" name="Ellipse 196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98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199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200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201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2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3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4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5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6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7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8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9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10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11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34" name="Gruppieren 133"/>
            <p:cNvGrpSpPr/>
            <p:nvPr/>
          </p:nvGrpSpPr>
          <p:grpSpPr>
            <a:xfrm>
              <a:off x="10766930" y="2135910"/>
              <a:ext cx="198955" cy="177516"/>
              <a:chOff x="5414205" y="3312278"/>
              <a:chExt cx="135236" cy="135236"/>
            </a:xfrm>
          </p:grpSpPr>
          <p:sp>
            <p:nvSpPr>
              <p:cNvPr id="194" name="Ellipse 193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5" name="Ellipse 194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96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5" name="Gruppieren 134"/>
            <p:cNvGrpSpPr/>
            <p:nvPr/>
          </p:nvGrpSpPr>
          <p:grpSpPr>
            <a:xfrm>
              <a:off x="10951568" y="1954455"/>
              <a:ext cx="198955" cy="177516"/>
              <a:chOff x="5573548" y="2957818"/>
              <a:chExt cx="135236" cy="135236"/>
            </a:xfrm>
          </p:grpSpPr>
          <p:sp>
            <p:nvSpPr>
              <p:cNvPr id="179" name="Ellipse 178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80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181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182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183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84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85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86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87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88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89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90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91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92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93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grpSp>
          <p:nvGrpSpPr>
            <p:cNvPr id="136" name="Gruppieren 135"/>
            <p:cNvGrpSpPr/>
            <p:nvPr/>
          </p:nvGrpSpPr>
          <p:grpSpPr>
            <a:xfrm>
              <a:off x="7326377" y="3686195"/>
              <a:ext cx="198955" cy="177516"/>
              <a:chOff x="5414205" y="3312278"/>
              <a:chExt cx="135236" cy="135236"/>
            </a:xfrm>
          </p:grpSpPr>
          <p:sp>
            <p:nvSpPr>
              <p:cNvPr id="176" name="Ellipse 175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7" name="Ellipse 176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78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7" name="Gruppieren 136"/>
            <p:cNvGrpSpPr/>
            <p:nvPr/>
          </p:nvGrpSpPr>
          <p:grpSpPr>
            <a:xfrm>
              <a:off x="7511016" y="3504740"/>
              <a:ext cx="198955" cy="177516"/>
              <a:chOff x="5573548" y="2957818"/>
              <a:chExt cx="135236" cy="135236"/>
            </a:xfrm>
          </p:grpSpPr>
          <p:sp>
            <p:nvSpPr>
              <p:cNvPr id="161" name="Ellipse 160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62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163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164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165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66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67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68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69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70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71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72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73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74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75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sp>
          <p:nvSpPr>
            <p:cNvPr id="138" name="Rechteck 137"/>
            <p:cNvSpPr>
              <a:spLocks noChangeAspect="1"/>
            </p:cNvSpPr>
            <p:nvPr/>
          </p:nvSpPr>
          <p:spPr>
            <a:xfrm>
              <a:off x="9931320" y="5463100"/>
              <a:ext cx="159473" cy="14176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tIns="54007" rIns="0" bIns="54007" rtlCol="0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de-DE" sz="600" dirty="0" err="1">
                  <a:solidFill>
                    <a:srgbClr val="000000"/>
                  </a:solidFill>
                </a:rPr>
                <a:t>aag</a:t>
              </a:r>
              <a:r>
                <a:rPr lang="de-DE" sz="600" dirty="0">
                  <a:solidFill>
                    <a:srgbClr val="000000"/>
                  </a:solidFill>
                </a:rPr>
                <a:t> </a:t>
              </a:r>
              <a:r>
                <a:rPr lang="de-DE" sz="600" dirty="0" err="1">
                  <a:solidFill>
                    <a:srgbClr val="000000"/>
                  </a:solidFill>
                </a:rPr>
                <a:t>partner</a:t>
              </a:r>
              <a:r>
                <a:rPr lang="de-DE" sz="600" dirty="0">
                  <a:solidFill>
                    <a:srgbClr val="000000"/>
                  </a:solidFill>
                </a:rPr>
                <a:t> (</a:t>
              </a:r>
              <a:r>
                <a:rPr lang="de-DE" sz="600" dirty="0" err="1">
                  <a:solidFill>
                    <a:srgbClr val="000000"/>
                  </a:solidFill>
                </a:rPr>
                <a:t>exemplary</a:t>
              </a:r>
              <a:r>
                <a:rPr lang="de-DE" sz="600" dirty="0">
                  <a:solidFill>
                    <a:srgbClr val="000000"/>
                  </a:solidFill>
                </a:rPr>
                <a:t>)</a:t>
              </a:r>
            </a:p>
          </p:txBody>
        </p:sp>
        <p:sp>
          <p:nvSpPr>
            <p:cNvPr id="139" name="Rechteck 138"/>
            <p:cNvSpPr>
              <a:spLocks noChangeAspect="1"/>
            </p:cNvSpPr>
            <p:nvPr/>
          </p:nvSpPr>
          <p:spPr>
            <a:xfrm>
              <a:off x="9927867" y="5841196"/>
              <a:ext cx="159473" cy="14176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tIns="54007" rIns="0" bIns="54007" rtlCol="0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de-DE" sz="600" dirty="0">
                  <a:solidFill>
                    <a:srgbClr val="000000"/>
                  </a:solidFill>
                </a:rPr>
                <a:t>FarmFacts </a:t>
              </a:r>
              <a:r>
                <a:rPr lang="de-DE" sz="600" dirty="0" err="1">
                  <a:solidFill>
                    <a:srgbClr val="000000"/>
                  </a:solidFill>
                </a:rPr>
                <a:t>distribution</a:t>
              </a:r>
              <a:r>
                <a:rPr lang="de-DE" sz="600" dirty="0">
                  <a:solidFill>
                    <a:srgbClr val="000000"/>
                  </a:solidFill>
                </a:rPr>
                <a:t> </a:t>
              </a:r>
              <a:r>
                <a:rPr lang="de-DE" sz="600" dirty="0" err="1">
                  <a:solidFill>
                    <a:srgbClr val="000000"/>
                  </a:solidFill>
                </a:rPr>
                <a:t>partner</a:t>
              </a:r>
              <a:endParaRPr lang="de-DE" sz="600" dirty="0">
                <a:solidFill>
                  <a:srgbClr val="000000"/>
                </a:solidFill>
              </a:endParaRPr>
            </a:p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de-DE" sz="600" dirty="0">
                  <a:solidFill>
                    <a:srgbClr val="000000"/>
                  </a:solidFill>
                </a:rPr>
                <a:t>(</a:t>
              </a:r>
              <a:r>
                <a:rPr lang="de-DE" sz="600" dirty="0" err="1">
                  <a:solidFill>
                    <a:srgbClr val="000000"/>
                  </a:solidFill>
                </a:rPr>
                <a:t>exemplary</a:t>
              </a:r>
              <a:r>
                <a:rPr lang="de-DE" sz="600" dirty="0">
                  <a:solidFill>
                    <a:srgbClr val="000000"/>
                  </a:solidFill>
                </a:rPr>
                <a:t>)</a:t>
              </a:r>
            </a:p>
          </p:txBody>
        </p:sp>
        <p:grpSp>
          <p:nvGrpSpPr>
            <p:cNvPr id="140" name="Gruppieren 139"/>
            <p:cNvGrpSpPr/>
            <p:nvPr/>
          </p:nvGrpSpPr>
          <p:grpSpPr>
            <a:xfrm>
              <a:off x="9893489" y="5823320"/>
              <a:ext cx="198955" cy="177516"/>
              <a:chOff x="5414205" y="3312278"/>
              <a:chExt cx="135236" cy="135236"/>
            </a:xfrm>
          </p:grpSpPr>
          <p:sp>
            <p:nvSpPr>
              <p:cNvPr id="158" name="Ellipse 157"/>
              <p:cNvSpPr/>
              <p:nvPr/>
            </p:nvSpPr>
            <p:spPr>
              <a:xfrm rot="8199255">
                <a:off x="5414205" y="3312278"/>
                <a:ext cx="135236" cy="135236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9" name="Ellipse 158"/>
              <p:cNvSpPr/>
              <p:nvPr/>
            </p:nvSpPr>
            <p:spPr>
              <a:xfrm>
                <a:off x="5427729" y="3325802"/>
                <a:ext cx="108189" cy="108189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60" name="Picture 6" descr="Bildergebnis fÃ¼r next farming">
                <a:extLst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03" y="3328076"/>
                <a:ext cx="103641" cy="1036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41" name="Gruppieren 140"/>
            <p:cNvGrpSpPr/>
            <p:nvPr/>
          </p:nvGrpSpPr>
          <p:grpSpPr>
            <a:xfrm>
              <a:off x="9893489" y="5445224"/>
              <a:ext cx="198955" cy="177516"/>
              <a:chOff x="5573548" y="2957818"/>
              <a:chExt cx="135236" cy="135236"/>
            </a:xfrm>
          </p:grpSpPr>
          <p:sp>
            <p:nvSpPr>
              <p:cNvPr id="143" name="Ellipse 142"/>
              <p:cNvSpPr/>
              <p:nvPr/>
            </p:nvSpPr>
            <p:spPr>
              <a:xfrm rot="8199255">
                <a:off x="5573548" y="2957818"/>
                <a:ext cx="135236" cy="135236"/>
              </a:xfrm>
              <a:prstGeom prst="ellipse">
                <a:avLst/>
              </a:prstGeom>
              <a:solidFill>
                <a:srgbClr val="6BC39A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7" tIns="54007" rIns="54007" bIns="54007" rtlCol="0" anchor="ctr"/>
              <a:lstStyle/>
              <a:p>
                <a:pPr algn="ctr" defTabSz="685800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endParaRPr lang="de-DE" sz="135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44" name="Gruppieren 27">
                <a:extLst/>
              </p:cNvPr>
              <p:cNvGrpSpPr>
                <a:grpSpLocks noChangeAspect="1"/>
              </p:cNvGrpSpPr>
              <p:nvPr/>
            </p:nvGrpSpPr>
            <p:grpSpPr>
              <a:xfrm>
                <a:off x="5580117" y="2962797"/>
                <a:ext cx="122099" cy="125278"/>
                <a:chOff x="5206900" y="3501008"/>
                <a:chExt cx="720000" cy="720000"/>
              </a:xfrm>
            </p:grpSpPr>
            <p:sp>
              <p:nvSpPr>
                <p:cNvPr id="145" name="Ellipse 537">
                  <a:extLst/>
                </p:cNvPr>
                <p:cNvSpPr/>
                <p:nvPr/>
              </p:nvSpPr>
              <p:spPr bwMode="gray">
                <a:xfrm>
                  <a:off x="5206900" y="3501008"/>
                  <a:ext cx="720000" cy="720000"/>
                </a:xfrm>
                <a:prstGeom prst="ellipse">
                  <a:avLst/>
                </a:prstGeom>
                <a:solidFill>
                  <a:srgbClr val="6BC39A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noAutofit/>
                </a:bodyPr>
                <a:lstStyle/>
                <a:p>
                  <a:pPr algn="ctr"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grpSp>
              <p:nvGrpSpPr>
                <p:cNvPr id="146" name="Gruppieren 542">
                  <a:extLst/>
                </p:cNvPr>
                <p:cNvGrpSpPr/>
                <p:nvPr/>
              </p:nvGrpSpPr>
              <p:grpSpPr>
                <a:xfrm>
                  <a:off x="5347704" y="3649899"/>
                  <a:ext cx="432788" cy="430316"/>
                  <a:chOff x="554038" y="6908800"/>
                  <a:chExt cx="277813" cy="276226"/>
                </a:xfrm>
                <a:solidFill>
                  <a:srgbClr val="FFFFFF"/>
                </a:solidFill>
              </p:grpSpPr>
              <p:sp>
                <p:nvSpPr>
                  <p:cNvPr id="147" name="Freeform 9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625" y="7029450"/>
                    <a:ext cx="52388" cy="17463"/>
                  </a:xfrm>
                  <a:custGeom>
                    <a:avLst/>
                    <a:gdLst>
                      <a:gd name="T0" fmla="*/ 15 w 190"/>
                      <a:gd name="T1" fmla="*/ 26 h 63"/>
                      <a:gd name="T2" fmla="*/ 95 w 190"/>
                      <a:gd name="T3" fmla="*/ 63 h 63"/>
                      <a:gd name="T4" fmla="*/ 190 w 190"/>
                      <a:gd name="T5" fmla="*/ 0 h 63"/>
                      <a:gd name="T6" fmla="*/ 73 w 190"/>
                      <a:gd name="T7" fmla="*/ 0 h 63"/>
                      <a:gd name="T8" fmla="*/ 0 w 190"/>
                      <a:gd name="T9" fmla="*/ 0 h 63"/>
                      <a:gd name="T10" fmla="*/ 15 w 190"/>
                      <a:gd name="T11" fmla="*/ 2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15" y="26"/>
                        </a:moveTo>
                        <a:cubicBezTo>
                          <a:pt x="33" y="48"/>
                          <a:pt x="62" y="63"/>
                          <a:pt x="95" y="63"/>
                        </a:cubicBez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" y="9"/>
                          <a:pt x="8" y="18"/>
                          <a:pt x="15" y="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48" name="Freeform 93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49" name="Freeform 94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650" y="6908800"/>
                    <a:ext cx="53975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50" name="Freeform 95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6908800"/>
                    <a:ext cx="55563" cy="103188"/>
                  </a:xfrm>
                  <a:custGeom>
                    <a:avLst/>
                    <a:gdLst>
                      <a:gd name="T0" fmla="*/ 202 w 202"/>
                      <a:gd name="T1" fmla="*/ 239 h 380"/>
                      <a:gd name="T2" fmla="*/ 202 w 202"/>
                      <a:gd name="T3" fmla="*/ 57 h 380"/>
                      <a:gd name="T4" fmla="*/ 135 w 202"/>
                      <a:gd name="T5" fmla="*/ 0 h 380"/>
                      <a:gd name="T6" fmla="*/ 67 w 202"/>
                      <a:gd name="T7" fmla="*/ 0 h 380"/>
                      <a:gd name="T8" fmla="*/ 0 w 202"/>
                      <a:gd name="T9" fmla="*/ 57 h 380"/>
                      <a:gd name="T10" fmla="*/ 0 w 202"/>
                      <a:gd name="T11" fmla="*/ 253 h 380"/>
                      <a:gd name="T12" fmla="*/ 0 w 202"/>
                      <a:gd name="T13" fmla="*/ 380 h 380"/>
                      <a:gd name="T14" fmla="*/ 202 w 202"/>
                      <a:gd name="T15" fmla="*/ 380 h 380"/>
                      <a:gd name="T16" fmla="*/ 202 w 202"/>
                      <a:gd name="T17" fmla="*/ 239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202" y="239"/>
                        </a:move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51" name="Freeform 96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6288" y="6908800"/>
                    <a:ext cx="55563" cy="103188"/>
                  </a:xfrm>
                  <a:custGeom>
                    <a:avLst/>
                    <a:gdLst>
                      <a:gd name="T0" fmla="*/ 135 w 202"/>
                      <a:gd name="T1" fmla="*/ 0 h 380"/>
                      <a:gd name="T2" fmla="*/ 66 w 202"/>
                      <a:gd name="T3" fmla="*/ 0 h 380"/>
                      <a:gd name="T4" fmla="*/ 0 w 202"/>
                      <a:gd name="T5" fmla="*/ 57 h 380"/>
                      <a:gd name="T6" fmla="*/ 0 w 202"/>
                      <a:gd name="T7" fmla="*/ 253 h 380"/>
                      <a:gd name="T8" fmla="*/ 0 w 202"/>
                      <a:gd name="T9" fmla="*/ 380 h 380"/>
                      <a:gd name="T10" fmla="*/ 202 w 202"/>
                      <a:gd name="T11" fmla="*/ 380 h 380"/>
                      <a:gd name="T12" fmla="*/ 202 w 202"/>
                      <a:gd name="T13" fmla="*/ 239 h 380"/>
                      <a:gd name="T14" fmla="*/ 202 w 202"/>
                      <a:gd name="T15" fmla="*/ 57 h 380"/>
                      <a:gd name="T16" fmla="*/ 135 w 202"/>
                      <a:gd name="T17" fmla="*/ 0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2" h="380">
                        <a:moveTo>
                          <a:pt x="135" y="0"/>
                        </a:move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0" y="0"/>
                          <a:pt x="0" y="25"/>
                          <a:pt x="0" y="57"/>
                        </a:cubicBezTo>
                        <a:cubicBezTo>
                          <a:pt x="0" y="122"/>
                          <a:pt x="0" y="188"/>
                          <a:pt x="0" y="253"/>
                        </a:cubicBezTo>
                        <a:cubicBezTo>
                          <a:pt x="0" y="316"/>
                          <a:pt x="0" y="316"/>
                          <a:pt x="0" y="380"/>
                        </a:cubicBezTo>
                        <a:cubicBezTo>
                          <a:pt x="202" y="380"/>
                          <a:pt x="202" y="380"/>
                          <a:pt x="202" y="380"/>
                        </a:cubicBezTo>
                        <a:cubicBezTo>
                          <a:pt x="202" y="312"/>
                          <a:pt x="202" y="307"/>
                          <a:pt x="202" y="239"/>
                        </a:cubicBezTo>
                        <a:cubicBezTo>
                          <a:pt x="202" y="179"/>
                          <a:pt x="202" y="118"/>
                          <a:pt x="202" y="57"/>
                        </a:cubicBezTo>
                        <a:cubicBezTo>
                          <a:pt x="202" y="25"/>
                          <a:pt x="172" y="0"/>
                          <a:pt x="13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52" name="Freeform 97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238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53" name="Freeform 98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03263" y="7029450"/>
                    <a:ext cx="52388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90 w 190"/>
                      <a:gd name="T3" fmla="*/ 0 h 63"/>
                      <a:gd name="T4" fmla="*/ 0 w 190"/>
                      <a:gd name="T5" fmla="*/ 0 h 63"/>
                      <a:gd name="T6" fmla="*/ 95 w 190"/>
                      <a:gd name="T7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39" y="63"/>
                          <a:pt x="176" y="37"/>
                          <a:pt x="19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54" name="Freeform 99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77875" y="7029450"/>
                    <a:ext cx="50800" cy="17463"/>
                  </a:xfrm>
                  <a:custGeom>
                    <a:avLst/>
                    <a:gdLst>
                      <a:gd name="T0" fmla="*/ 95 w 190"/>
                      <a:gd name="T1" fmla="*/ 63 h 63"/>
                      <a:gd name="T2" fmla="*/ 175 w 190"/>
                      <a:gd name="T3" fmla="*/ 26 h 63"/>
                      <a:gd name="T4" fmla="*/ 190 w 190"/>
                      <a:gd name="T5" fmla="*/ 0 h 63"/>
                      <a:gd name="T6" fmla="*/ 117 w 190"/>
                      <a:gd name="T7" fmla="*/ 0 h 63"/>
                      <a:gd name="T8" fmla="*/ 0 w 190"/>
                      <a:gd name="T9" fmla="*/ 0 h 63"/>
                      <a:gd name="T10" fmla="*/ 95 w 190"/>
                      <a:gd name="T11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0" h="63">
                        <a:moveTo>
                          <a:pt x="95" y="63"/>
                        </a:moveTo>
                        <a:cubicBezTo>
                          <a:pt x="128" y="63"/>
                          <a:pt x="157" y="48"/>
                          <a:pt x="175" y="26"/>
                        </a:cubicBezTo>
                        <a:cubicBezTo>
                          <a:pt x="182" y="18"/>
                          <a:pt x="187" y="9"/>
                          <a:pt x="190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3" y="37"/>
                          <a:pt x="51" y="63"/>
                          <a:pt x="95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55" name="Freeform 100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554038" y="7046913"/>
                    <a:ext cx="165100" cy="138113"/>
                  </a:xfrm>
                  <a:custGeom>
                    <a:avLst/>
                    <a:gdLst>
                      <a:gd name="T0" fmla="*/ 546 w 601"/>
                      <a:gd name="T1" fmla="*/ 0 h 506"/>
                      <a:gd name="T2" fmla="*/ 538 w 601"/>
                      <a:gd name="T3" fmla="*/ 0 h 506"/>
                      <a:gd name="T4" fmla="*/ 538 w 601"/>
                      <a:gd name="T5" fmla="*/ 317 h 506"/>
                      <a:gd name="T6" fmla="*/ 95 w 601"/>
                      <a:gd name="T7" fmla="*/ 317 h 506"/>
                      <a:gd name="T8" fmla="*/ 95 w 601"/>
                      <a:gd name="T9" fmla="*/ 63 h 506"/>
                      <a:gd name="T10" fmla="*/ 21 w 601"/>
                      <a:gd name="T11" fmla="*/ 26 h 506"/>
                      <a:gd name="T12" fmla="*/ 0 w 601"/>
                      <a:gd name="T13" fmla="*/ 79 h 506"/>
                      <a:gd name="T14" fmla="*/ 0 w 601"/>
                      <a:gd name="T15" fmla="*/ 427 h 506"/>
                      <a:gd name="T16" fmla="*/ 79 w 601"/>
                      <a:gd name="T17" fmla="*/ 506 h 506"/>
                      <a:gd name="T18" fmla="*/ 601 w 601"/>
                      <a:gd name="T19" fmla="*/ 506 h 506"/>
                      <a:gd name="T20" fmla="*/ 601 w 601"/>
                      <a:gd name="T21" fmla="*/ 56 h 506"/>
                      <a:gd name="T22" fmla="*/ 546 w 601"/>
                      <a:gd name="T23" fmla="*/ 0 h 5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01" h="506">
                        <a:moveTo>
                          <a:pt x="546" y="0"/>
                        </a:moveTo>
                        <a:cubicBezTo>
                          <a:pt x="538" y="0"/>
                          <a:pt x="538" y="0"/>
                          <a:pt x="538" y="0"/>
                        </a:cubicBezTo>
                        <a:cubicBezTo>
                          <a:pt x="538" y="317"/>
                          <a:pt x="538" y="317"/>
                          <a:pt x="538" y="317"/>
                        </a:cubicBezTo>
                        <a:cubicBezTo>
                          <a:pt x="95" y="317"/>
                          <a:pt x="95" y="317"/>
                          <a:pt x="95" y="317"/>
                        </a:cubicBezTo>
                        <a:cubicBezTo>
                          <a:pt x="95" y="63"/>
                          <a:pt x="95" y="63"/>
                          <a:pt x="95" y="63"/>
                        </a:cubicBezTo>
                        <a:cubicBezTo>
                          <a:pt x="64" y="61"/>
                          <a:pt x="38" y="47"/>
                          <a:pt x="21" y="26"/>
                        </a:cubicBezTo>
                        <a:cubicBezTo>
                          <a:pt x="8" y="40"/>
                          <a:pt x="0" y="59"/>
                          <a:pt x="0" y="79"/>
                        </a:cubicBezTo>
                        <a:cubicBezTo>
                          <a:pt x="0" y="427"/>
                          <a:pt x="0" y="427"/>
                          <a:pt x="0" y="427"/>
                        </a:cubicBezTo>
                        <a:cubicBezTo>
                          <a:pt x="0" y="471"/>
                          <a:pt x="35" y="506"/>
                          <a:pt x="79" y="506"/>
                        </a:cubicBezTo>
                        <a:cubicBezTo>
                          <a:pt x="601" y="506"/>
                          <a:pt x="601" y="506"/>
                          <a:pt x="601" y="506"/>
                        </a:cubicBezTo>
                        <a:cubicBezTo>
                          <a:pt x="601" y="56"/>
                          <a:pt x="601" y="56"/>
                          <a:pt x="601" y="56"/>
                        </a:cubicBezTo>
                        <a:cubicBezTo>
                          <a:pt x="575" y="45"/>
                          <a:pt x="555" y="25"/>
                          <a:pt x="5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56" name="Freeform 101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804863" y="7053263"/>
                    <a:ext cx="26988" cy="131763"/>
                  </a:xfrm>
                  <a:custGeom>
                    <a:avLst/>
                    <a:gdLst>
                      <a:gd name="T0" fmla="*/ 74 w 95"/>
                      <a:gd name="T1" fmla="*/ 0 h 480"/>
                      <a:gd name="T2" fmla="*/ 0 w 95"/>
                      <a:gd name="T3" fmla="*/ 37 h 480"/>
                      <a:gd name="T4" fmla="*/ 0 w 95"/>
                      <a:gd name="T5" fmla="*/ 480 h 480"/>
                      <a:gd name="T6" fmla="*/ 16 w 95"/>
                      <a:gd name="T7" fmla="*/ 480 h 480"/>
                      <a:gd name="T8" fmla="*/ 95 w 95"/>
                      <a:gd name="T9" fmla="*/ 401 h 480"/>
                      <a:gd name="T10" fmla="*/ 95 w 95"/>
                      <a:gd name="T11" fmla="*/ 53 h 480"/>
                      <a:gd name="T12" fmla="*/ 74 w 95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5" h="480">
                        <a:moveTo>
                          <a:pt x="74" y="0"/>
                        </a:moveTo>
                        <a:cubicBezTo>
                          <a:pt x="57" y="21"/>
                          <a:pt x="30" y="35"/>
                          <a:pt x="0" y="37"/>
                        </a:cubicBezTo>
                        <a:cubicBezTo>
                          <a:pt x="0" y="480"/>
                          <a:pt x="0" y="480"/>
                          <a:pt x="0" y="480"/>
                        </a:cubicBezTo>
                        <a:cubicBezTo>
                          <a:pt x="16" y="480"/>
                          <a:pt x="16" y="480"/>
                          <a:pt x="16" y="480"/>
                        </a:cubicBezTo>
                        <a:cubicBezTo>
                          <a:pt x="59" y="480"/>
                          <a:pt x="95" y="445"/>
                          <a:pt x="95" y="401"/>
                        </a:cubicBezTo>
                        <a:cubicBezTo>
                          <a:pt x="95" y="53"/>
                          <a:pt x="95" y="53"/>
                          <a:pt x="95" y="53"/>
                        </a:cubicBezTo>
                        <a:cubicBezTo>
                          <a:pt x="95" y="33"/>
                          <a:pt x="87" y="14"/>
                          <a:pt x="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57" name="Freeform 102">
                    <a:extLst/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7097713"/>
                    <a:ext cx="34925" cy="17463"/>
                  </a:xfrm>
                  <a:custGeom>
                    <a:avLst/>
                    <a:gdLst>
                      <a:gd name="T0" fmla="*/ 127 w 127"/>
                      <a:gd name="T1" fmla="*/ 32 h 63"/>
                      <a:gd name="T2" fmla="*/ 95 w 127"/>
                      <a:gd name="T3" fmla="*/ 63 h 63"/>
                      <a:gd name="T4" fmla="*/ 32 w 127"/>
                      <a:gd name="T5" fmla="*/ 63 h 63"/>
                      <a:gd name="T6" fmla="*/ 0 w 127"/>
                      <a:gd name="T7" fmla="*/ 32 h 63"/>
                      <a:gd name="T8" fmla="*/ 0 w 127"/>
                      <a:gd name="T9" fmla="*/ 32 h 63"/>
                      <a:gd name="T10" fmla="*/ 32 w 127"/>
                      <a:gd name="T11" fmla="*/ 0 h 63"/>
                      <a:gd name="T12" fmla="*/ 95 w 127"/>
                      <a:gd name="T13" fmla="*/ 0 h 63"/>
                      <a:gd name="T14" fmla="*/ 127 w 127"/>
                      <a:gd name="T15" fmla="*/ 32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63">
                        <a:moveTo>
                          <a:pt x="127" y="32"/>
                        </a:moveTo>
                        <a:cubicBezTo>
                          <a:pt x="127" y="49"/>
                          <a:pt x="113" y="63"/>
                          <a:pt x="95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15" y="63"/>
                          <a:pt x="0" y="49"/>
                          <a:pt x="0" y="32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113" y="0"/>
                          <a:pt x="127" y="14"/>
                          <a:pt x="127" y="3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85800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1200" kern="0" dirty="0">
                      <a:solidFill>
                        <a:srgbClr val="000000"/>
                      </a:solidFill>
                      <a:ea typeface="ＭＳ Ｐゴシック" pitchFamily="34" charset="-128"/>
                    </a:endParaRPr>
                  </a:p>
                </p:txBody>
              </p:sp>
            </p:grpSp>
          </p:grpSp>
        </p:grpSp>
        <p:sp>
          <p:nvSpPr>
            <p:cNvPr id="142" name="Rechteck 141"/>
            <p:cNvSpPr>
              <a:spLocks noChangeAspect="1"/>
            </p:cNvSpPr>
            <p:nvPr/>
          </p:nvSpPr>
          <p:spPr>
            <a:xfrm>
              <a:off x="7763964" y="5463100"/>
              <a:ext cx="159473" cy="141765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2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tIns="54007" rIns="0" bIns="54007" rtlCol="0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de-DE" sz="600" dirty="0" err="1">
                  <a:solidFill>
                    <a:srgbClr val="000000"/>
                  </a:solidFill>
                </a:rPr>
                <a:t>Full</a:t>
              </a:r>
              <a:r>
                <a:rPr lang="de-DE" sz="600" dirty="0">
                  <a:solidFill>
                    <a:srgbClr val="000000"/>
                  </a:solidFill>
                </a:rPr>
                <a:t> </a:t>
              </a:r>
              <a:r>
                <a:rPr lang="de-DE" sz="600" dirty="0" err="1">
                  <a:solidFill>
                    <a:srgbClr val="000000"/>
                  </a:solidFill>
                </a:rPr>
                <a:t>scope</a:t>
              </a:r>
              <a:endParaRPr lang="de-DE" sz="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792" name="Bild 1" descr="AGCO_logo - Red - Black - Text">
            <a:extLst>
              <a:ext uri="{FF2B5EF4-FFF2-40B4-BE49-F238E27FC236}">
                <a16:creationId xmlns:a16="http://schemas.microsoft.com/office/drawing/2014/main" xmlns="" id="{EE85381E-2DD9-42C9-898A-F05EFF2DDED4}"/>
              </a:ext>
            </a:extLst>
          </p:cNvPr>
          <p:cNvPicPr/>
          <p:nvPr/>
        </p:nvPicPr>
        <p:blipFill>
          <a:blip r:embed="rId20" cstate="screen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638" y="2650724"/>
            <a:ext cx="637203" cy="28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793" name="Picture 21" descr="C:\Users\cop\Work Folders\Desktop\Kuhn\KUHN_LOGO.png">
            <a:extLst>
              <a:ext uri="{FF2B5EF4-FFF2-40B4-BE49-F238E27FC236}">
                <a16:creationId xmlns:a16="http://schemas.microsoft.com/office/drawing/2014/main" xmlns="" id="{E1A709FC-B859-4D5F-B519-A57138142688}"/>
              </a:ext>
            </a:extLst>
          </p:cNvPr>
          <p:cNvPicPr/>
          <p:nvPr/>
        </p:nvPicPr>
        <p:blipFill>
          <a:blip r:embed="rId21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7572" y="4289680"/>
            <a:ext cx="503338" cy="3072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94" name="Picture 22" descr="C:\Users\cop\Work Folders\Desktop\Lemken\LEMKEN_Logo_claim_CMYK.jpg">
            <a:extLst>
              <a:ext uri="{FF2B5EF4-FFF2-40B4-BE49-F238E27FC236}">
                <a16:creationId xmlns:a16="http://schemas.microsoft.com/office/drawing/2014/main" xmlns="" id="{68081937-A561-4BB8-80FC-897B9130AAD0}"/>
              </a:ext>
            </a:extLst>
          </p:cNvPr>
          <p:cNvPicPr/>
          <p:nvPr/>
        </p:nvPicPr>
        <p:blipFill>
          <a:blip r:embed="rId2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535" y="3695612"/>
            <a:ext cx="567412" cy="165684"/>
          </a:xfrm>
          <a:prstGeom prst="rect">
            <a:avLst/>
          </a:prstGeom>
          <a:noFill/>
          <a:ln>
            <a:noFill/>
          </a:ln>
        </p:spPr>
      </p:pic>
      <p:pic>
        <p:nvPicPr>
          <p:cNvPr id="795" name="Picture 23" descr="C:\Users\cop\Work Folders\Desktop\Krone\Office_Web\KRONE_The-Power-of-Green_1c.jpg">
            <a:extLst>
              <a:ext uri="{FF2B5EF4-FFF2-40B4-BE49-F238E27FC236}">
                <a16:creationId xmlns:a16="http://schemas.microsoft.com/office/drawing/2014/main" xmlns="" id="{528BA9A4-FB68-496C-9278-AAD400AA463B}"/>
              </a:ext>
            </a:extLst>
          </p:cNvPr>
          <p:cNvPicPr/>
          <p:nvPr/>
        </p:nvPicPr>
        <p:blipFill>
          <a:blip r:embed="rId2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009" y="4014639"/>
            <a:ext cx="628461" cy="212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796" name="Picture 24" descr="C:\Users\cop\Work Folders\Desktop\Pöttinger\Logo_Poettinger_2lines_RGB.jpg">
            <a:extLst>
              <a:ext uri="{FF2B5EF4-FFF2-40B4-BE49-F238E27FC236}">
                <a16:creationId xmlns:a16="http://schemas.microsoft.com/office/drawing/2014/main" xmlns="" id="{21C60542-1DFC-4217-A508-8F5B4AD36B61}"/>
              </a:ext>
            </a:extLst>
          </p:cNvPr>
          <p:cNvPicPr/>
          <p:nvPr/>
        </p:nvPicPr>
        <p:blipFill>
          <a:blip r:embed="rId2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643" y="3323888"/>
            <a:ext cx="521195" cy="241377"/>
          </a:xfrm>
          <a:prstGeom prst="rect">
            <a:avLst/>
          </a:prstGeom>
          <a:noFill/>
          <a:ln>
            <a:noFill/>
          </a:ln>
        </p:spPr>
      </p:pic>
      <p:pic>
        <p:nvPicPr>
          <p:cNvPr id="797" name="Picture 25" descr="C:\Users\cop\Work Folders\Desktop\Rauch\RAUCHLogo-v-r-wir-cmyk.eps">
            <a:extLst>
              <a:ext uri="{FF2B5EF4-FFF2-40B4-BE49-F238E27FC236}">
                <a16:creationId xmlns:a16="http://schemas.microsoft.com/office/drawing/2014/main" xmlns="" id="{7CC6ED4E-F691-4838-ACCA-F75A6BAE3FCE}"/>
              </a:ext>
            </a:extLst>
          </p:cNvPr>
          <p:cNvPicPr/>
          <p:nvPr/>
        </p:nvPicPr>
        <p:blipFill>
          <a:blip r:embed="rId25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28" y="3030845"/>
            <a:ext cx="595223" cy="143820"/>
          </a:xfrm>
          <a:prstGeom prst="rect">
            <a:avLst/>
          </a:prstGeom>
          <a:noFill/>
          <a:ln>
            <a:noFill/>
          </a:ln>
        </p:spPr>
      </p:pic>
      <p:pic>
        <p:nvPicPr>
          <p:cNvPr id="799" name="Picture 50">
            <a:extLst>
              <a:ext uri="{FF2B5EF4-FFF2-40B4-BE49-F238E27FC236}">
                <a16:creationId xmlns:a16="http://schemas.microsoft.com/office/drawing/2014/main" xmlns="" id="{4CCF239F-4551-4C3A-976E-BBC179A79D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63" t="18864" r="5309" b="63767"/>
          <a:stretch/>
        </p:blipFill>
        <p:spPr bwMode="auto">
          <a:xfrm>
            <a:off x="1738621" y="2507096"/>
            <a:ext cx="762470" cy="72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837" name="Connector: Elbow 61">
            <a:extLst>
              <a:ext uri="{FF2B5EF4-FFF2-40B4-BE49-F238E27FC236}">
                <a16:creationId xmlns:a16="http://schemas.microsoft.com/office/drawing/2014/main" xmlns="" id="{CC39AFF9-5F17-4742-A05B-1A1DDFA3797D}"/>
              </a:ext>
            </a:extLst>
          </p:cNvPr>
          <p:cNvCxnSpPr>
            <a:cxnSpLocks/>
            <a:stCxn id="799" idx="0"/>
            <a:endCxn id="835" idx="1"/>
          </p:cNvCxnSpPr>
          <p:nvPr/>
        </p:nvCxnSpPr>
        <p:spPr>
          <a:xfrm rot="5400000" flipH="1" flipV="1">
            <a:off x="2432993" y="1975880"/>
            <a:ext cx="218080" cy="844352"/>
          </a:xfrm>
          <a:prstGeom prst="bentConnector2">
            <a:avLst/>
          </a:prstGeom>
          <a:ln w="12700">
            <a:solidFill>
              <a:srgbClr val="4AA43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8" name="Gruppieren 837"/>
          <p:cNvGrpSpPr/>
          <p:nvPr/>
        </p:nvGrpSpPr>
        <p:grpSpPr>
          <a:xfrm>
            <a:off x="256054" y="2048485"/>
            <a:ext cx="459000" cy="459000"/>
            <a:chOff x="5573548" y="2957818"/>
            <a:chExt cx="135236" cy="135236"/>
          </a:xfrm>
        </p:grpSpPr>
        <p:sp>
          <p:nvSpPr>
            <p:cNvPr id="839" name="Ellipse 838"/>
            <p:cNvSpPr/>
            <p:nvPr/>
          </p:nvSpPr>
          <p:spPr>
            <a:xfrm rot="8199255">
              <a:off x="5573548" y="2957818"/>
              <a:ext cx="135236" cy="135236"/>
            </a:xfrm>
            <a:prstGeom prst="ellipse">
              <a:avLst/>
            </a:prstGeom>
            <a:solidFill>
              <a:srgbClr val="6BC39A"/>
            </a:solidFill>
            <a:ln w="12700" cap="flat" cmpd="sng" algn="ctr">
              <a:solidFill>
                <a:schemeClr val="bg1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7" tIns="54007" rIns="54007" bIns="54007" rtlCol="0"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endParaRPr lang="de-DE" sz="1350" dirty="0">
                <a:solidFill>
                  <a:srgbClr val="FFFFFF"/>
                </a:solidFill>
              </a:endParaRPr>
            </a:p>
          </p:txBody>
        </p:sp>
        <p:grpSp>
          <p:nvGrpSpPr>
            <p:cNvPr id="840" name="Gruppieren 27">
              <a:extLst/>
            </p:cNvPr>
            <p:cNvGrpSpPr>
              <a:grpSpLocks noChangeAspect="1"/>
            </p:cNvGrpSpPr>
            <p:nvPr/>
          </p:nvGrpSpPr>
          <p:grpSpPr>
            <a:xfrm>
              <a:off x="5580117" y="2962797"/>
              <a:ext cx="122099" cy="125278"/>
              <a:chOff x="5206900" y="3501008"/>
              <a:chExt cx="720000" cy="720000"/>
            </a:xfrm>
          </p:grpSpPr>
          <p:sp>
            <p:nvSpPr>
              <p:cNvPr id="841" name="Ellipse 537">
                <a:extLst/>
              </p:cNvPr>
              <p:cNvSpPr/>
              <p:nvPr/>
            </p:nvSpPr>
            <p:spPr bwMode="gray">
              <a:xfrm>
                <a:off x="5206900" y="3501008"/>
                <a:ext cx="720000" cy="720000"/>
              </a:xfrm>
              <a:prstGeom prst="ellipse">
                <a:avLst/>
              </a:prstGeom>
              <a:solidFill>
                <a:srgbClr val="6BC39A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>
                <a:noAutofit/>
              </a:bodyPr>
              <a:lstStyle/>
              <a:p>
                <a:pPr algn="ctr" defTabSz="6858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200" kern="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grpSp>
            <p:nvGrpSpPr>
              <p:cNvPr id="842" name="Gruppieren 542">
                <a:extLst/>
              </p:cNvPr>
              <p:cNvGrpSpPr/>
              <p:nvPr/>
            </p:nvGrpSpPr>
            <p:grpSpPr>
              <a:xfrm>
                <a:off x="5347704" y="3649899"/>
                <a:ext cx="432788" cy="430316"/>
                <a:chOff x="554038" y="6908800"/>
                <a:chExt cx="277813" cy="276226"/>
              </a:xfrm>
              <a:solidFill>
                <a:srgbClr val="FFFFFF"/>
              </a:solidFill>
            </p:grpSpPr>
            <p:sp>
              <p:nvSpPr>
                <p:cNvPr id="843" name="Freeform 92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555625" y="7029450"/>
                  <a:ext cx="52388" cy="17463"/>
                </a:xfrm>
                <a:custGeom>
                  <a:avLst/>
                  <a:gdLst>
                    <a:gd name="T0" fmla="*/ 15 w 190"/>
                    <a:gd name="T1" fmla="*/ 26 h 63"/>
                    <a:gd name="T2" fmla="*/ 95 w 190"/>
                    <a:gd name="T3" fmla="*/ 63 h 63"/>
                    <a:gd name="T4" fmla="*/ 190 w 190"/>
                    <a:gd name="T5" fmla="*/ 0 h 63"/>
                    <a:gd name="T6" fmla="*/ 73 w 190"/>
                    <a:gd name="T7" fmla="*/ 0 h 63"/>
                    <a:gd name="T8" fmla="*/ 0 w 190"/>
                    <a:gd name="T9" fmla="*/ 0 h 63"/>
                    <a:gd name="T10" fmla="*/ 15 w 190"/>
                    <a:gd name="T11" fmla="*/ 26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90" h="63">
                      <a:moveTo>
                        <a:pt x="15" y="26"/>
                      </a:moveTo>
                      <a:cubicBezTo>
                        <a:pt x="33" y="48"/>
                        <a:pt x="62" y="63"/>
                        <a:pt x="95" y="63"/>
                      </a:cubicBezTo>
                      <a:cubicBezTo>
                        <a:pt x="139" y="63"/>
                        <a:pt x="176" y="37"/>
                        <a:pt x="190" y="0"/>
                      </a:cubicBezTo>
                      <a:cubicBezTo>
                        <a:pt x="73" y="0"/>
                        <a:pt x="73" y="0"/>
                        <a:pt x="7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9"/>
                        <a:pt x="8" y="18"/>
                        <a:pt x="15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44" name="Freeform 93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554038" y="6908800"/>
                  <a:ext cx="55563" cy="103188"/>
                </a:xfrm>
                <a:custGeom>
                  <a:avLst/>
                  <a:gdLst>
                    <a:gd name="T0" fmla="*/ 202 w 202"/>
                    <a:gd name="T1" fmla="*/ 239 h 380"/>
                    <a:gd name="T2" fmla="*/ 202 w 202"/>
                    <a:gd name="T3" fmla="*/ 57 h 380"/>
                    <a:gd name="T4" fmla="*/ 135 w 202"/>
                    <a:gd name="T5" fmla="*/ 0 h 380"/>
                    <a:gd name="T6" fmla="*/ 67 w 202"/>
                    <a:gd name="T7" fmla="*/ 0 h 380"/>
                    <a:gd name="T8" fmla="*/ 0 w 202"/>
                    <a:gd name="T9" fmla="*/ 57 h 380"/>
                    <a:gd name="T10" fmla="*/ 0 w 202"/>
                    <a:gd name="T11" fmla="*/ 253 h 380"/>
                    <a:gd name="T12" fmla="*/ 0 w 202"/>
                    <a:gd name="T13" fmla="*/ 380 h 380"/>
                    <a:gd name="T14" fmla="*/ 202 w 202"/>
                    <a:gd name="T15" fmla="*/ 380 h 380"/>
                    <a:gd name="T16" fmla="*/ 202 w 202"/>
                    <a:gd name="T17" fmla="*/ 239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2" h="380">
                      <a:moveTo>
                        <a:pt x="202" y="239"/>
                      </a:moveTo>
                      <a:cubicBezTo>
                        <a:pt x="202" y="179"/>
                        <a:pt x="202" y="118"/>
                        <a:pt x="202" y="57"/>
                      </a:cubicBezTo>
                      <a:cubicBezTo>
                        <a:pt x="202" y="25"/>
                        <a:pt x="172" y="0"/>
                        <a:pt x="135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30" y="0"/>
                        <a:pt x="0" y="25"/>
                        <a:pt x="0" y="57"/>
                      </a:cubicBezTo>
                      <a:cubicBezTo>
                        <a:pt x="0" y="122"/>
                        <a:pt x="0" y="188"/>
                        <a:pt x="0" y="253"/>
                      </a:cubicBezTo>
                      <a:cubicBezTo>
                        <a:pt x="0" y="316"/>
                        <a:pt x="0" y="316"/>
                        <a:pt x="0" y="380"/>
                      </a:cubicBezTo>
                      <a:cubicBezTo>
                        <a:pt x="202" y="380"/>
                        <a:pt x="202" y="380"/>
                        <a:pt x="202" y="380"/>
                      </a:cubicBezTo>
                      <a:cubicBezTo>
                        <a:pt x="202" y="312"/>
                        <a:pt x="202" y="307"/>
                        <a:pt x="202" y="2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45" name="Freeform 94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628650" y="6908800"/>
                  <a:ext cx="53975" cy="103188"/>
                </a:xfrm>
                <a:custGeom>
                  <a:avLst/>
                  <a:gdLst>
                    <a:gd name="T0" fmla="*/ 202 w 202"/>
                    <a:gd name="T1" fmla="*/ 239 h 380"/>
                    <a:gd name="T2" fmla="*/ 202 w 202"/>
                    <a:gd name="T3" fmla="*/ 57 h 380"/>
                    <a:gd name="T4" fmla="*/ 135 w 202"/>
                    <a:gd name="T5" fmla="*/ 0 h 380"/>
                    <a:gd name="T6" fmla="*/ 67 w 202"/>
                    <a:gd name="T7" fmla="*/ 0 h 380"/>
                    <a:gd name="T8" fmla="*/ 0 w 202"/>
                    <a:gd name="T9" fmla="*/ 57 h 380"/>
                    <a:gd name="T10" fmla="*/ 0 w 202"/>
                    <a:gd name="T11" fmla="*/ 253 h 380"/>
                    <a:gd name="T12" fmla="*/ 0 w 202"/>
                    <a:gd name="T13" fmla="*/ 380 h 380"/>
                    <a:gd name="T14" fmla="*/ 202 w 202"/>
                    <a:gd name="T15" fmla="*/ 380 h 380"/>
                    <a:gd name="T16" fmla="*/ 202 w 202"/>
                    <a:gd name="T17" fmla="*/ 239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2" h="380">
                      <a:moveTo>
                        <a:pt x="202" y="239"/>
                      </a:moveTo>
                      <a:cubicBezTo>
                        <a:pt x="202" y="179"/>
                        <a:pt x="202" y="118"/>
                        <a:pt x="202" y="57"/>
                      </a:cubicBezTo>
                      <a:cubicBezTo>
                        <a:pt x="202" y="25"/>
                        <a:pt x="172" y="0"/>
                        <a:pt x="135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30" y="0"/>
                        <a:pt x="0" y="25"/>
                        <a:pt x="0" y="57"/>
                      </a:cubicBezTo>
                      <a:cubicBezTo>
                        <a:pt x="0" y="122"/>
                        <a:pt x="0" y="188"/>
                        <a:pt x="0" y="253"/>
                      </a:cubicBezTo>
                      <a:cubicBezTo>
                        <a:pt x="0" y="316"/>
                        <a:pt x="0" y="316"/>
                        <a:pt x="0" y="380"/>
                      </a:cubicBezTo>
                      <a:cubicBezTo>
                        <a:pt x="202" y="380"/>
                        <a:pt x="202" y="380"/>
                        <a:pt x="202" y="380"/>
                      </a:cubicBezTo>
                      <a:cubicBezTo>
                        <a:pt x="202" y="312"/>
                        <a:pt x="202" y="307"/>
                        <a:pt x="202" y="2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46" name="Freeform 95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701675" y="6908800"/>
                  <a:ext cx="55563" cy="103188"/>
                </a:xfrm>
                <a:custGeom>
                  <a:avLst/>
                  <a:gdLst>
                    <a:gd name="T0" fmla="*/ 202 w 202"/>
                    <a:gd name="T1" fmla="*/ 239 h 380"/>
                    <a:gd name="T2" fmla="*/ 202 w 202"/>
                    <a:gd name="T3" fmla="*/ 57 h 380"/>
                    <a:gd name="T4" fmla="*/ 135 w 202"/>
                    <a:gd name="T5" fmla="*/ 0 h 380"/>
                    <a:gd name="T6" fmla="*/ 67 w 202"/>
                    <a:gd name="T7" fmla="*/ 0 h 380"/>
                    <a:gd name="T8" fmla="*/ 0 w 202"/>
                    <a:gd name="T9" fmla="*/ 57 h 380"/>
                    <a:gd name="T10" fmla="*/ 0 w 202"/>
                    <a:gd name="T11" fmla="*/ 253 h 380"/>
                    <a:gd name="T12" fmla="*/ 0 w 202"/>
                    <a:gd name="T13" fmla="*/ 380 h 380"/>
                    <a:gd name="T14" fmla="*/ 202 w 202"/>
                    <a:gd name="T15" fmla="*/ 380 h 380"/>
                    <a:gd name="T16" fmla="*/ 202 w 202"/>
                    <a:gd name="T17" fmla="*/ 239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2" h="380">
                      <a:moveTo>
                        <a:pt x="202" y="239"/>
                      </a:moveTo>
                      <a:cubicBezTo>
                        <a:pt x="202" y="179"/>
                        <a:pt x="202" y="118"/>
                        <a:pt x="202" y="57"/>
                      </a:cubicBezTo>
                      <a:cubicBezTo>
                        <a:pt x="202" y="25"/>
                        <a:pt x="172" y="0"/>
                        <a:pt x="135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30" y="0"/>
                        <a:pt x="0" y="25"/>
                        <a:pt x="0" y="57"/>
                      </a:cubicBezTo>
                      <a:cubicBezTo>
                        <a:pt x="0" y="122"/>
                        <a:pt x="0" y="188"/>
                        <a:pt x="0" y="253"/>
                      </a:cubicBezTo>
                      <a:cubicBezTo>
                        <a:pt x="0" y="316"/>
                        <a:pt x="0" y="316"/>
                        <a:pt x="0" y="380"/>
                      </a:cubicBezTo>
                      <a:cubicBezTo>
                        <a:pt x="202" y="380"/>
                        <a:pt x="202" y="380"/>
                        <a:pt x="202" y="380"/>
                      </a:cubicBezTo>
                      <a:cubicBezTo>
                        <a:pt x="202" y="312"/>
                        <a:pt x="202" y="307"/>
                        <a:pt x="202" y="2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47" name="Freeform 96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776288" y="6908800"/>
                  <a:ext cx="55563" cy="103188"/>
                </a:xfrm>
                <a:custGeom>
                  <a:avLst/>
                  <a:gdLst>
                    <a:gd name="T0" fmla="*/ 135 w 202"/>
                    <a:gd name="T1" fmla="*/ 0 h 380"/>
                    <a:gd name="T2" fmla="*/ 66 w 202"/>
                    <a:gd name="T3" fmla="*/ 0 h 380"/>
                    <a:gd name="T4" fmla="*/ 0 w 202"/>
                    <a:gd name="T5" fmla="*/ 57 h 380"/>
                    <a:gd name="T6" fmla="*/ 0 w 202"/>
                    <a:gd name="T7" fmla="*/ 253 h 380"/>
                    <a:gd name="T8" fmla="*/ 0 w 202"/>
                    <a:gd name="T9" fmla="*/ 380 h 380"/>
                    <a:gd name="T10" fmla="*/ 202 w 202"/>
                    <a:gd name="T11" fmla="*/ 380 h 380"/>
                    <a:gd name="T12" fmla="*/ 202 w 202"/>
                    <a:gd name="T13" fmla="*/ 239 h 380"/>
                    <a:gd name="T14" fmla="*/ 202 w 202"/>
                    <a:gd name="T15" fmla="*/ 57 h 380"/>
                    <a:gd name="T16" fmla="*/ 135 w 202"/>
                    <a:gd name="T17" fmla="*/ 0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2" h="380">
                      <a:moveTo>
                        <a:pt x="135" y="0"/>
                      </a:move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0" y="0"/>
                        <a:pt x="0" y="25"/>
                        <a:pt x="0" y="57"/>
                      </a:cubicBezTo>
                      <a:cubicBezTo>
                        <a:pt x="0" y="122"/>
                        <a:pt x="0" y="188"/>
                        <a:pt x="0" y="253"/>
                      </a:cubicBezTo>
                      <a:cubicBezTo>
                        <a:pt x="0" y="316"/>
                        <a:pt x="0" y="316"/>
                        <a:pt x="0" y="380"/>
                      </a:cubicBezTo>
                      <a:cubicBezTo>
                        <a:pt x="202" y="380"/>
                        <a:pt x="202" y="380"/>
                        <a:pt x="202" y="380"/>
                      </a:cubicBezTo>
                      <a:cubicBezTo>
                        <a:pt x="202" y="312"/>
                        <a:pt x="202" y="307"/>
                        <a:pt x="202" y="239"/>
                      </a:cubicBezTo>
                      <a:cubicBezTo>
                        <a:pt x="202" y="179"/>
                        <a:pt x="202" y="118"/>
                        <a:pt x="202" y="57"/>
                      </a:cubicBezTo>
                      <a:cubicBezTo>
                        <a:pt x="202" y="25"/>
                        <a:pt x="172" y="0"/>
                        <a:pt x="13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48" name="Freeform 97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630238" y="7029450"/>
                  <a:ext cx="50800" cy="17463"/>
                </a:xfrm>
                <a:custGeom>
                  <a:avLst/>
                  <a:gdLst>
                    <a:gd name="T0" fmla="*/ 95 w 190"/>
                    <a:gd name="T1" fmla="*/ 63 h 63"/>
                    <a:gd name="T2" fmla="*/ 190 w 190"/>
                    <a:gd name="T3" fmla="*/ 0 h 63"/>
                    <a:gd name="T4" fmla="*/ 0 w 190"/>
                    <a:gd name="T5" fmla="*/ 0 h 63"/>
                    <a:gd name="T6" fmla="*/ 95 w 190"/>
                    <a:gd name="T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0" h="63">
                      <a:moveTo>
                        <a:pt x="95" y="63"/>
                      </a:moveTo>
                      <a:cubicBezTo>
                        <a:pt x="139" y="63"/>
                        <a:pt x="176" y="37"/>
                        <a:pt x="19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37"/>
                        <a:pt x="51" y="63"/>
                        <a:pt x="95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49" name="Freeform 98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703263" y="7029450"/>
                  <a:ext cx="52388" cy="17463"/>
                </a:xfrm>
                <a:custGeom>
                  <a:avLst/>
                  <a:gdLst>
                    <a:gd name="T0" fmla="*/ 95 w 190"/>
                    <a:gd name="T1" fmla="*/ 63 h 63"/>
                    <a:gd name="T2" fmla="*/ 190 w 190"/>
                    <a:gd name="T3" fmla="*/ 0 h 63"/>
                    <a:gd name="T4" fmla="*/ 0 w 190"/>
                    <a:gd name="T5" fmla="*/ 0 h 63"/>
                    <a:gd name="T6" fmla="*/ 95 w 190"/>
                    <a:gd name="T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0" h="63">
                      <a:moveTo>
                        <a:pt x="95" y="63"/>
                      </a:moveTo>
                      <a:cubicBezTo>
                        <a:pt x="139" y="63"/>
                        <a:pt x="176" y="37"/>
                        <a:pt x="19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37"/>
                        <a:pt x="51" y="63"/>
                        <a:pt x="95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50" name="Freeform 99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777875" y="7029450"/>
                  <a:ext cx="50800" cy="17463"/>
                </a:xfrm>
                <a:custGeom>
                  <a:avLst/>
                  <a:gdLst>
                    <a:gd name="T0" fmla="*/ 95 w 190"/>
                    <a:gd name="T1" fmla="*/ 63 h 63"/>
                    <a:gd name="T2" fmla="*/ 175 w 190"/>
                    <a:gd name="T3" fmla="*/ 26 h 63"/>
                    <a:gd name="T4" fmla="*/ 190 w 190"/>
                    <a:gd name="T5" fmla="*/ 0 h 63"/>
                    <a:gd name="T6" fmla="*/ 117 w 190"/>
                    <a:gd name="T7" fmla="*/ 0 h 63"/>
                    <a:gd name="T8" fmla="*/ 0 w 190"/>
                    <a:gd name="T9" fmla="*/ 0 h 63"/>
                    <a:gd name="T10" fmla="*/ 95 w 190"/>
                    <a:gd name="T11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90" h="63">
                      <a:moveTo>
                        <a:pt x="95" y="63"/>
                      </a:moveTo>
                      <a:cubicBezTo>
                        <a:pt x="128" y="63"/>
                        <a:pt x="157" y="48"/>
                        <a:pt x="175" y="26"/>
                      </a:cubicBezTo>
                      <a:cubicBezTo>
                        <a:pt x="182" y="18"/>
                        <a:pt x="187" y="9"/>
                        <a:pt x="190" y="0"/>
                      </a:cubicBezTo>
                      <a:cubicBezTo>
                        <a:pt x="117" y="0"/>
                        <a:pt x="117" y="0"/>
                        <a:pt x="1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37"/>
                        <a:pt x="51" y="63"/>
                        <a:pt x="95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51" name="Freeform 100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554038" y="7046913"/>
                  <a:ext cx="165100" cy="138113"/>
                </a:xfrm>
                <a:custGeom>
                  <a:avLst/>
                  <a:gdLst>
                    <a:gd name="T0" fmla="*/ 546 w 601"/>
                    <a:gd name="T1" fmla="*/ 0 h 506"/>
                    <a:gd name="T2" fmla="*/ 538 w 601"/>
                    <a:gd name="T3" fmla="*/ 0 h 506"/>
                    <a:gd name="T4" fmla="*/ 538 w 601"/>
                    <a:gd name="T5" fmla="*/ 317 h 506"/>
                    <a:gd name="T6" fmla="*/ 95 w 601"/>
                    <a:gd name="T7" fmla="*/ 317 h 506"/>
                    <a:gd name="T8" fmla="*/ 95 w 601"/>
                    <a:gd name="T9" fmla="*/ 63 h 506"/>
                    <a:gd name="T10" fmla="*/ 21 w 601"/>
                    <a:gd name="T11" fmla="*/ 26 h 506"/>
                    <a:gd name="T12" fmla="*/ 0 w 601"/>
                    <a:gd name="T13" fmla="*/ 79 h 506"/>
                    <a:gd name="T14" fmla="*/ 0 w 601"/>
                    <a:gd name="T15" fmla="*/ 427 h 506"/>
                    <a:gd name="T16" fmla="*/ 79 w 601"/>
                    <a:gd name="T17" fmla="*/ 506 h 506"/>
                    <a:gd name="T18" fmla="*/ 601 w 601"/>
                    <a:gd name="T19" fmla="*/ 506 h 506"/>
                    <a:gd name="T20" fmla="*/ 601 w 601"/>
                    <a:gd name="T21" fmla="*/ 56 h 506"/>
                    <a:gd name="T22" fmla="*/ 546 w 601"/>
                    <a:gd name="T23" fmla="*/ 0 h 5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1" h="506">
                      <a:moveTo>
                        <a:pt x="546" y="0"/>
                      </a:moveTo>
                      <a:cubicBezTo>
                        <a:pt x="538" y="0"/>
                        <a:pt x="538" y="0"/>
                        <a:pt x="538" y="0"/>
                      </a:cubicBezTo>
                      <a:cubicBezTo>
                        <a:pt x="538" y="317"/>
                        <a:pt x="538" y="317"/>
                        <a:pt x="538" y="317"/>
                      </a:cubicBezTo>
                      <a:cubicBezTo>
                        <a:pt x="95" y="317"/>
                        <a:pt x="95" y="317"/>
                        <a:pt x="95" y="317"/>
                      </a:cubicBezTo>
                      <a:cubicBezTo>
                        <a:pt x="95" y="63"/>
                        <a:pt x="95" y="63"/>
                        <a:pt x="95" y="63"/>
                      </a:cubicBezTo>
                      <a:cubicBezTo>
                        <a:pt x="64" y="61"/>
                        <a:pt x="38" y="47"/>
                        <a:pt x="21" y="26"/>
                      </a:cubicBezTo>
                      <a:cubicBezTo>
                        <a:pt x="8" y="40"/>
                        <a:pt x="0" y="59"/>
                        <a:pt x="0" y="79"/>
                      </a:cubicBezTo>
                      <a:cubicBezTo>
                        <a:pt x="0" y="427"/>
                        <a:pt x="0" y="427"/>
                        <a:pt x="0" y="427"/>
                      </a:cubicBezTo>
                      <a:cubicBezTo>
                        <a:pt x="0" y="471"/>
                        <a:pt x="35" y="506"/>
                        <a:pt x="79" y="506"/>
                      </a:cubicBezTo>
                      <a:cubicBezTo>
                        <a:pt x="601" y="506"/>
                        <a:pt x="601" y="506"/>
                        <a:pt x="601" y="506"/>
                      </a:cubicBezTo>
                      <a:cubicBezTo>
                        <a:pt x="601" y="56"/>
                        <a:pt x="601" y="56"/>
                        <a:pt x="601" y="56"/>
                      </a:cubicBezTo>
                      <a:cubicBezTo>
                        <a:pt x="575" y="45"/>
                        <a:pt x="555" y="25"/>
                        <a:pt x="54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52" name="Freeform 101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804863" y="7053263"/>
                  <a:ext cx="26988" cy="131763"/>
                </a:xfrm>
                <a:custGeom>
                  <a:avLst/>
                  <a:gdLst>
                    <a:gd name="T0" fmla="*/ 74 w 95"/>
                    <a:gd name="T1" fmla="*/ 0 h 480"/>
                    <a:gd name="T2" fmla="*/ 0 w 95"/>
                    <a:gd name="T3" fmla="*/ 37 h 480"/>
                    <a:gd name="T4" fmla="*/ 0 w 95"/>
                    <a:gd name="T5" fmla="*/ 480 h 480"/>
                    <a:gd name="T6" fmla="*/ 16 w 95"/>
                    <a:gd name="T7" fmla="*/ 480 h 480"/>
                    <a:gd name="T8" fmla="*/ 95 w 95"/>
                    <a:gd name="T9" fmla="*/ 401 h 480"/>
                    <a:gd name="T10" fmla="*/ 95 w 95"/>
                    <a:gd name="T11" fmla="*/ 53 h 480"/>
                    <a:gd name="T12" fmla="*/ 74 w 95"/>
                    <a:gd name="T13" fmla="*/ 0 h 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5" h="480">
                      <a:moveTo>
                        <a:pt x="74" y="0"/>
                      </a:moveTo>
                      <a:cubicBezTo>
                        <a:pt x="57" y="21"/>
                        <a:pt x="30" y="35"/>
                        <a:pt x="0" y="37"/>
                      </a:cubicBezTo>
                      <a:cubicBezTo>
                        <a:pt x="0" y="480"/>
                        <a:pt x="0" y="480"/>
                        <a:pt x="0" y="480"/>
                      </a:cubicBezTo>
                      <a:cubicBezTo>
                        <a:pt x="16" y="480"/>
                        <a:pt x="16" y="480"/>
                        <a:pt x="16" y="480"/>
                      </a:cubicBezTo>
                      <a:cubicBezTo>
                        <a:pt x="59" y="480"/>
                        <a:pt x="95" y="445"/>
                        <a:pt x="95" y="401"/>
                      </a:cubicBezTo>
                      <a:cubicBezTo>
                        <a:pt x="95" y="53"/>
                        <a:pt x="95" y="53"/>
                        <a:pt x="95" y="53"/>
                      </a:cubicBezTo>
                      <a:cubicBezTo>
                        <a:pt x="95" y="33"/>
                        <a:pt x="87" y="14"/>
                        <a:pt x="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853" name="Freeform 102">
                  <a:extLst/>
                </p:cNvPr>
                <p:cNvSpPr>
                  <a:spLocks/>
                </p:cNvSpPr>
                <p:nvPr/>
              </p:nvSpPr>
              <p:spPr bwMode="auto">
                <a:xfrm>
                  <a:off x="727075" y="7097713"/>
                  <a:ext cx="34925" cy="17463"/>
                </a:xfrm>
                <a:custGeom>
                  <a:avLst/>
                  <a:gdLst>
                    <a:gd name="T0" fmla="*/ 127 w 127"/>
                    <a:gd name="T1" fmla="*/ 32 h 63"/>
                    <a:gd name="T2" fmla="*/ 95 w 127"/>
                    <a:gd name="T3" fmla="*/ 63 h 63"/>
                    <a:gd name="T4" fmla="*/ 32 w 127"/>
                    <a:gd name="T5" fmla="*/ 63 h 63"/>
                    <a:gd name="T6" fmla="*/ 0 w 127"/>
                    <a:gd name="T7" fmla="*/ 32 h 63"/>
                    <a:gd name="T8" fmla="*/ 0 w 127"/>
                    <a:gd name="T9" fmla="*/ 32 h 63"/>
                    <a:gd name="T10" fmla="*/ 32 w 127"/>
                    <a:gd name="T11" fmla="*/ 0 h 63"/>
                    <a:gd name="T12" fmla="*/ 95 w 127"/>
                    <a:gd name="T13" fmla="*/ 0 h 63"/>
                    <a:gd name="T14" fmla="*/ 127 w 127"/>
                    <a:gd name="T15" fmla="*/ 3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7" h="63">
                      <a:moveTo>
                        <a:pt x="127" y="32"/>
                      </a:moveTo>
                      <a:cubicBezTo>
                        <a:pt x="127" y="49"/>
                        <a:pt x="113" y="63"/>
                        <a:pt x="95" y="63"/>
                      </a:cubicBezTo>
                      <a:cubicBezTo>
                        <a:pt x="32" y="63"/>
                        <a:pt x="32" y="63"/>
                        <a:pt x="32" y="63"/>
                      </a:cubicBezTo>
                      <a:cubicBezTo>
                        <a:pt x="15" y="63"/>
                        <a:pt x="0" y="49"/>
                        <a:pt x="0" y="32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14"/>
                        <a:pt x="15" y="0"/>
                        <a:pt x="32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113" y="0"/>
                        <a:pt x="127" y="14"/>
                        <a:pt x="127" y="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8580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1200" kern="0" dirty="0">
                    <a:solidFill>
                      <a:srgbClr val="000000"/>
                    </a:solidFill>
                    <a:ea typeface="ＭＳ Ｐゴシック" pitchFamily="34" charset="-128"/>
                  </a:endParaRPr>
                </a:p>
              </p:txBody>
            </p:sp>
          </p:grpSp>
        </p:grpSp>
      </p:grpSp>
      <p:sp>
        <p:nvSpPr>
          <p:cNvPr id="779" name="Fußzeilenplatzhalter 7">
            <a:extLst>
              <a:ext uri="{FF2B5EF4-FFF2-40B4-BE49-F238E27FC236}">
                <a16:creationId xmlns:a16="http://schemas.microsoft.com/office/drawing/2014/main" xmlns="" id="{A456BB72-4106-934B-916B-77643371F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834" y="4767263"/>
            <a:ext cx="3338622" cy="274637"/>
          </a:xfr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FarmFacts GmbH</a:t>
            </a:r>
          </a:p>
        </p:txBody>
      </p:sp>
    </p:spTree>
    <p:extLst>
      <p:ext uri="{BB962C8B-B14F-4D97-AF65-F5344CB8AC3E}">
        <p14:creationId xmlns:p14="http://schemas.microsoft.com/office/powerpoint/2010/main" val="263022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>
            <a:extLst>
              <a:ext uri="{FF2B5EF4-FFF2-40B4-BE49-F238E27FC236}">
                <a16:creationId xmlns="" xmlns:a16="http://schemas.microsoft.com/office/drawing/2014/main" id="{6826EB50-267C-4341-BA96-9AE68A244D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7" y="119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7" y="119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89CE9408-06FE-4325-A450-9DE0B8F27C4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bg1"/>
              </a:buClr>
            </a:pPr>
            <a:endParaRPr lang="en-US" sz="165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90A1D710-EAC1-43C0-B14F-4BD72B096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813" y="257251"/>
            <a:ext cx="6488823" cy="783431"/>
          </a:xfrm>
        </p:spPr>
        <p:txBody>
          <a:bodyPr/>
          <a:lstStyle/>
          <a:p>
            <a:pPr algn="l" fontAlgn="base"/>
            <a:r>
              <a:rPr lang="de-DE" sz="2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le Lösungen entlang der Wertschöpfungskette als Basis für Partnerschaften.</a:t>
            </a:r>
          </a:p>
        </p:txBody>
      </p:sp>
      <p:grpSp>
        <p:nvGrpSpPr>
          <p:cNvPr id="91" name="Group 62"/>
          <p:cNvGrpSpPr>
            <a:grpSpLocks noChangeAspect="1"/>
          </p:cNvGrpSpPr>
          <p:nvPr/>
        </p:nvGrpSpPr>
        <p:grpSpPr>
          <a:xfrm>
            <a:off x="4455700" y="3902536"/>
            <a:ext cx="651556" cy="625148"/>
            <a:chOff x="571564" y="2589711"/>
            <a:chExt cx="322676" cy="360000"/>
          </a:xfrm>
        </p:grpSpPr>
        <p:sp>
          <p:nvSpPr>
            <p:cNvPr id="93" name="Oval 67"/>
            <p:cNvSpPr/>
            <p:nvPr/>
          </p:nvSpPr>
          <p:spPr>
            <a:xfrm>
              <a:off x="571564" y="2589711"/>
              <a:ext cx="322676" cy="36000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2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7" tIns="54007" rIns="54007" bIns="54007" rtlCol="0" anchor="ctr"/>
            <a:lstStyle/>
            <a:p>
              <a:pPr algn="ctr">
                <a:buClr>
                  <a:schemeClr val="bg1"/>
                </a:buClr>
              </a:pPr>
              <a:endParaRPr lang="de-DE" sz="1350" dirty="0">
                <a:solidFill>
                  <a:schemeClr val="bg1"/>
                </a:solidFill>
              </a:endParaRPr>
            </a:p>
          </p:txBody>
        </p:sp>
        <p:grpSp>
          <p:nvGrpSpPr>
            <p:cNvPr id="94" name="Gruppieren 1205"/>
            <p:cNvGrpSpPr/>
            <p:nvPr/>
          </p:nvGrpSpPr>
          <p:grpSpPr>
            <a:xfrm>
              <a:off x="624903" y="2643711"/>
              <a:ext cx="216000" cy="252000"/>
              <a:chOff x="13789025" y="2930525"/>
              <a:chExt cx="390525" cy="431800"/>
            </a:xfrm>
            <a:solidFill>
              <a:schemeClr val="bg1"/>
            </a:solidFill>
          </p:grpSpPr>
          <p:sp>
            <p:nvSpPr>
              <p:cNvPr id="95" name="Freeform 886"/>
              <p:cNvSpPr>
                <a:spLocks noEditPoints="1"/>
              </p:cNvSpPr>
              <p:nvPr/>
            </p:nvSpPr>
            <p:spPr bwMode="auto">
              <a:xfrm>
                <a:off x="13936663" y="2998788"/>
                <a:ext cx="107950" cy="60325"/>
              </a:xfrm>
              <a:custGeom>
                <a:avLst/>
                <a:gdLst>
                  <a:gd name="T0" fmla="*/ 0 w 59"/>
                  <a:gd name="T1" fmla="*/ 3 h 33"/>
                  <a:gd name="T2" fmla="*/ 21 w 59"/>
                  <a:gd name="T3" fmla="*/ 31 h 33"/>
                  <a:gd name="T4" fmla="*/ 38 w 59"/>
                  <a:gd name="T5" fmla="*/ 32 h 33"/>
                  <a:gd name="T6" fmla="*/ 59 w 59"/>
                  <a:gd name="T7" fmla="*/ 3 h 33"/>
                  <a:gd name="T8" fmla="*/ 59 w 59"/>
                  <a:gd name="T9" fmla="*/ 0 h 33"/>
                  <a:gd name="T10" fmla="*/ 0 w 59"/>
                  <a:gd name="T11" fmla="*/ 0 h 33"/>
                  <a:gd name="T12" fmla="*/ 0 w 59"/>
                  <a:gd name="T13" fmla="*/ 3 h 33"/>
                  <a:gd name="T14" fmla="*/ 15 w 59"/>
                  <a:gd name="T15" fmla="*/ 15 h 33"/>
                  <a:gd name="T16" fmla="*/ 30 w 59"/>
                  <a:gd name="T17" fmla="*/ 9 h 33"/>
                  <a:gd name="T18" fmla="*/ 46 w 59"/>
                  <a:gd name="T19" fmla="*/ 15 h 33"/>
                  <a:gd name="T20" fmla="*/ 46 w 59"/>
                  <a:gd name="T21" fmla="*/ 17 h 33"/>
                  <a:gd name="T22" fmla="*/ 30 w 59"/>
                  <a:gd name="T23" fmla="*/ 14 h 33"/>
                  <a:gd name="T24" fmla="*/ 15 w 59"/>
                  <a:gd name="T25" fmla="*/ 17 h 33"/>
                  <a:gd name="T26" fmla="*/ 15 w 59"/>
                  <a:gd name="T27" fmla="*/ 1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9" h="33">
                    <a:moveTo>
                      <a:pt x="0" y="3"/>
                    </a:moveTo>
                    <a:cubicBezTo>
                      <a:pt x="0" y="17"/>
                      <a:pt x="9" y="28"/>
                      <a:pt x="21" y="31"/>
                    </a:cubicBezTo>
                    <a:cubicBezTo>
                      <a:pt x="27" y="33"/>
                      <a:pt x="32" y="33"/>
                      <a:pt x="38" y="32"/>
                    </a:cubicBezTo>
                    <a:cubicBezTo>
                      <a:pt x="50" y="28"/>
                      <a:pt x="59" y="17"/>
                      <a:pt x="59" y="3"/>
                    </a:cubicBezTo>
                    <a:cubicBezTo>
                      <a:pt x="59" y="2"/>
                      <a:pt x="59" y="1"/>
                      <a:pt x="5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3"/>
                    </a:cubicBezTo>
                    <a:close/>
                    <a:moveTo>
                      <a:pt x="15" y="15"/>
                    </a:moveTo>
                    <a:cubicBezTo>
                      <a:pt x="20" y="16"/>
                      <a:pt x="25" y="5"/>
                      <a:pt x="30" y="9"/>
                    </a:cubicBezTo>
                    <a:cubicBezTo>
                      <a:pt x="36" y="5"/>
                      <a:pt x="40" y="16"/>
                      <a:pt x="46" y="15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0" y="18"/>
                      <a:pt x="34" y="19"/>
                      <a:pt x="30" y="14"/>
                    </a:cubicBezTo>
                    <a:cubicBezTo>
                      <a:pt x="27" y="19"/>
                      <a:pt x="21" y="18"/>
                      <a:pt x="15" y="17"/>
                    </a:cubicBezTo>
                    <a:lnTo>
                      <a:pt x="15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de-DE" sz="135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Freeform 887"/>
              <p:cNvSpPr>
                <a:spLocks/>
              </p:cNvSpPr>
              <p:nvPr/>
            </p:nvSpPr>
            <p:spPr bwMode="auto">
              <a:xfrm>
                <a:off x="13935075" y="3184525"/>
                <a:ext cx="112713" cy="177800"/>
              </a:xfrm>
              <a:custGeom>
                <a:avLst/>
                <a:gdLst>
                  <a:gd name="T0" fmla="*/ 65 w 71"/>
                  <a:gd name="T1" fmla="*/ 13 h 112"/>
                  <a:gd name="T2" fmla="*/ 65 w 71"/>
                  <a:gd name="T3" fmla="*/ 12 h 112"/>
                  <a:gd name="T4" fmla="*/ 66 w 71"/>
                  <a:gd name="T5" fmla="*/ 0 h 112"/>
                  <a:gd name="T6" fmla="*/ 4 w 71"/>
                  <a:gd name="T7" fmla="*/ 0 h 112"/>
                  <a:gd name="T8" fmla="*/ 4 w 71"/>
                  <a:gd name="T9" fmla="*/ 13 h 112"/>
                  <a:gd name="T10" fmla="*/ 0 w 71"/>
                  <a:gd name="T11" fmla="*/ 112 h 112"/>
                  <a:gd name="T12" fmla="*/ 24 w 71"/>
                  <a:gd name="T13" fmla="*/ 112 h 112"/>
                  <a:gd name="T14" fmla="*/ 29 w 71"/>
                  <a:gd name="T15" fmla="*/ 27 h 112"/>
                  <a:gd name="T16" fmla="*/ 41 w 71"/>
                  <a:gd name="T17" fmla="*/ 27 h 112"/>
                  <a:gd name="T18" fmla="*/ 45 w 71"/>
                  <a:gd name="T19" fmla="*/ 112 h 112"/>
                  <a:gd name="T20" fmla="*/ 71 w 71"/>
                  <a:gd name="T21" fmla="*/ 112 h 112"/>
                  <a:gd name="T22" fmla="*/ 65 w 71"/>
                  <a:gd name="T23" fmla="*/ 1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1" h="112">
                    <a:moveTo>
                      <a:pt x="65" y="13"/>
                    </a:moveTo>
                    <a:lnTo>
                      <a:pt x="65" y="12"/>
                    </a:lnTo>
                    <a:lnTo>
                      <a:pt x="66" y="0"/>
                    </a:lnTo>
                    <a:lnTo>
                      <a:pt x="4" y="0"/>
                    </a:lnTo>
                    <a:lnTo>
                      <a:pt x="4" y="13"/>
                    </a:lnTo>
                    <a:lnTo>
                      <a:pt x="0" y="112"/>
                    </a:lnTo>
                    <a:lnTo>
                      <a:pt x="24" y="112"/>
                    </a:lnTo>
                    <a:lnTo>
                      <a:pt x="29" y="27"/>
                    </a:lnTo>
                    <a:lnTo>
                      <a:pt x="41" y="27"/>
                    </a:lnTo>
                    <a:lnTo>
                      <a:pt x="45" y="112"/>
                    </a:lnTo>
                    <a:lnTo>
                      <a:pt x="71" y="112"/>
                    </a:lnTo>
                    <a:lnTo>
                      <a:pt x="65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de-DE" sz="135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Freeform 888"/>
              <p:cNvSpPr>
                <a:spLocks/>
              </p:cNvSpPr>
              <p:nvPr/>
            </p:nvSpPr>
            <p:spPr bwMode="auto">
              <a:xfrm>
                <a:off x="13923963" y="2930525"/>
                <a:ext cx="134938" cy="55563"/>
              </a:xfrm>
              <a:custGeom>
                <a:avLst/>
                <a:gdLst>
                  <a:gd name="T0" fmla="*/ 73 w 73"/>
                  <a:gd name="T1" fmla="*/ 23 h 30"/>
                  <a:gd name="T2" fmla="*/ 64 w 73"/>
                  <a:gd name="T3" fmla="*/ 23 h 30"/>
                  <a:gd name="T4" fmla="*/ 53 w 73"/>
                  <a:gd name="T5" fmla="*/ 0 h 30"/>
                  <a:gd name="T6" fmla="*/ 18 w 73"/>
                  <a:gd name="T7" fmla="*/ 0 h 30"/>
                  <a:gd name="T8" fmla="*/ 8 w 73"/>
                  <a:gd name="T9" fmla="*/ 23 h 30"/>
                  <a:gd name="T10" fmla="*/ 0 w 73"/>
                  <a:gd name="T11" fmla="*/ 23 h 30"/>
                  <a:gd name="T12" fmla="*/ 0 w 73"/>
                  <a:gd name="T13" fmla="*/ 30 h 30"/>
                  <a:gd name="T14" fmla="*/ 9 w 73"/>
                  <a:gd name="T15" fmla="*/ 30 h 30"/>
                  <a:gd name="T16" fmla="*/ 9 w 73"/>
                  <a:gd name="T17" fmla="*/ 30 h 30"/>
                  <a:gd name="T18" fmla="*/ 64 w 73"/>
                  <a:gd name="T19" fmla="*/ 30 h 30"/>
                  <a:gd name="T20" fmla="*/ 64 w 73"/>
                  <a:gd name="T21" fmla="*/ 30 h 30"/>
                  <a:gd name="T22" fmla="*/ 73 w 73"/>
                  <a:gd name="T23" fmla="*/ 30 h 30"/>
                  <a:gd name="T24" fmla="*/ 73 w 73"/>
                  <a:gd name="T25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30">
                    <a:moveTo>
                      <a:pt x="73" y="23"/>
                    </a:moveTo>
                    <a:cubicBezTo>
                      <a:pt x="64" y="23"/>
                      <a:pt x="64" y="23"/>
                      <a:pt x="64" y="23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42" y="11"/>
                      <a:pt x="30" y="11"/>
                      <a:pt x="18" y="0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64" y="30"/>
                      <a:pt x="64" y="30"/>
                      <a:pt x="64" y="30"/>
                    </a:cubicBezTo>
                    <a:cubicBezTo>
                      <a:pt x="64" y="30"/>
                      <a:pt x="64" y="30"/>
                      <a:pt x="64" y="30"/>
                    </a:cubicBezTo>
                    <a:cubicBezTo>
                      <a:pt x="73" y="30"/>
                      <a:pt x="73" y="30"/>
                      <a:pt x="73" y="30"/>
                    </a:cubicBezTo>
                    <a:lnTo>
                      <a:pt x="73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de-DE" sz="135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889"/>
              <p:cNvSpPr>
                <a:spLocks/>
              </p:cNvSpPr>
              <p:nvPr/>
            </p:nvSpPr>
            <p:spPr bwMode="auto">
              <a:xfrm>
                <a:off x="13789025" y="2938463"/>
                <a:ext cx="122238" cy="420688"/>
              </a:xfrm>
              <a:custGeom>
                <a:avLst/>
                <a:gdLst>
                  <a:gd name="T0" fmla="*/ 28 w 67"/>
                  <a:gd name="T1" fmla="*/ 0 h 230"/>
                  <a:gd name="T2" fmla="*/ 28 w 67"/>
                  <a:gd name="T3" fmla="*/ 158 h 230"/>
                  <a:gd name="T4" fmla="*/ 0 w 67"/>
                  <a:gd name="T5" fmla="*/ 158 h 230"/>
                  <a:gd name="T6" fmla="*/ 0 w 67"/>
                  <a:gd name="T7" fmla="*/ 168 h 230"/>
                  <a:gd name="T8" fmla="*/ 5 w 67"/>
                  <a:gd name="T9" fmla="*/ 168 h 230"/>
                  <a:gd name="T10" fmla="*/ 35 w 67"/>
                  <a:gd name="T11" fmla="*/ 230 h 230"/>
                  <a:gd name="T12" fmla="*/ 63 w 67"/>
                  <a:gd name="T13" fmla="*/ 168 h 230"/>
                  <a:gd name="T14" fmla="*/ 67 w 67"/>
                  <a:gd name="T15" fmla="*/ 168 h 230"/>
                  <a:gd name="T16" fmla="*/ 67 w 67"/>
                  <a:gd name="T17" fmla="*/ 158 h 230"/>
                  <a:gd name="T18" fmla="*/ 39 w 67"/>
                  <a:gd name="T19" fmla="*/ 158 h 230"/>
                  <a:gd name="T20" fmla="*/ 39 w 67"/>
                  <a:gd name="T21" fmla="*/ 0 h 230"/>
                  <a:gd name="T22" fmla="*/ 28 w 67"/>
                  <a:gd name="T23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230">
                    <a:moveTo>
                      <a:pt x="28" y="0"/>
                    </a:moveTo>
                    <a:cubicBezTo>
                      <a:pt x="28" y="158"/>
                      <a:pt x="28" y="158"/>
                      <a:pt x="28" y="158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5" y="168"/>
                      <a:pt x="5" y="168"/>
                      <a:pt x="5" y="168"/>
                    </a:cubicBezTo>
                    <a:cubicBezTo>
                      <a:pt x="3" y="204"/>
                      <a:pt x="13" y="226"/>
                      <a:pt x="35" y="230"/>
                    </a:cubicBezTo>
                    <a:cubicBezTo>
                      <a:pt x="58" y="223"/>
                      <a:pt x="65" y="201"/>
                      <a:pt x="63" y="168"/>
                    </a:cubicBezTo>
                    <a:cubicBezTo>
                      <a:pt x="67" y="168"/>
                      <a:pt x="67" y="168"/>
                      <a:pt x="67" y="168"/>
                    </a:cubicBezTo>
                    <a:cubicBezTo>
                      <a:pt x="67" y="158"/>
                      <a:pt x="67" y="158"/>
                      <a:pt x="67" y="158"/>
                    </a:cubicBezTo>
                    <a:cubicBezTo>
                      <a:pt x="39" y="158"/>
                      <a:pt x="39" y="158"/>
                      <a:pt x="39" y="158"/>
                    </a:cubicBezTo>
                    <a:cubicBezTo>
                      <a:pt x="39" y="0"/>
                      <a:pt x="39" y="0"/>
                      <a:pt x="39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de-DE" sz="135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890"/>
              <p:cNvSpPr>
                <a:spLocks/>
              </p:cNvSpPr>
              <p:nvPr/>
            </p:nvSpPr>
            <p:spPr bwMode="auto">
              <a:xfrm>
                <a:off x="13871575" y="3065463"/>
                <a:ext cx="241300" cy="128588"/>
              </a:xfrm>
              <a:custGeom>
                <a:avLst/>
                <a:gdLst>
                  <a:gd name="T0" fmla="*/ 7 w 132"/>
                  <a:gd name="T1" fmla="*/ 67 h 70"/>
                  <a:gd name="T2" fmla="*/ 36 w 132"/>
                  <a:gd name="T3" fmla="*/ 41 h 70"/>
                  <a:gd name="T4" fmla="*/ 37 w 132"/>
                  <a:gd name="T5" fmla="*/ 61 h 70"/>
                  <a:gd name="T6" fmla="*/ 92 w 132"/>
                  <a:gd name="T7" fmla="*/ 61 h 70"/>
                  <a:gd name="T8" fmla="*/ 93 w 132"/>
                  <a:gd name="T9" fmla="*/ 37 h 70"/>
                  <a:gd name="T10" fmla="*/ 125 w 132"/>
                  <a:gd name="T11" fmla="*/ 70 h 70"/>
                  <a:gd name="T12" fmla="*/ 132 w 132"/>
                  <a:gd name="T13" fmla="*/ 59 h 70"/>
                  <a:gd name="T14" fmla="*/ 95 w 132"/>
                  <a:gd name="T15" fmla="*/ 0 h 70"/>
                  <a:gd name="T16" fmla="*/ 82 w 132"/>
                  <a:gd name="T17" fmla="*/ 0 h 70"/>
                  <a:gd name="T18" fmla="*/ 66 w 132"/>
                  <a:gd name="T19" fmla="*/ 13 h 70"/>
                  <a:gd name="T20" fmla="*/ 49 w 132"/>
                  <a:gd name="T21" fmla="*/ 0 h 70"/>
                  <a:gd name="T22" fmla="*/ 35 w 132"/>
                  <a:gd name="T23" fmla="*/ 0 h 70"/>
                  <a:gd name="T24" fmla="*/ 0 w 132"/>
                  <a:gd name="T25" fmla="*/ 61 h 70"/>
                  <a:gd name="T26" fmla="*/ 7 w 132"/>
                  <a:gd name="T27" fmla="*/ 6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2" h="70">
                    <a:moveTo>
                      <a:pt x="7" y="67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37" y="61"/>
                      <a:pt x="37" y="61"/>
                      <a:pt x="37" y="61"/>
                    </a:cubicBezTo>
                    <a:cubicBezTo>
                      <a:pt x="92" y="61"/>
                      <a:pt x="92" y="61"/>
                      <a:pt x="92" y="61"/>
                    </a:cubicBezTo>
                    <a:cubicBezTo>
                      <a:pt x="93" y="37"/>
                      <a:pt x="93" y="37"/>
                      <a:pt x="93" y="37"/>
                    </a:cubicBezTo>
                    <a:cubicBezTo>
                      <a:pt x="125" y="70"/>
                      <a:pt x="125" y="70"/>
                      <a:pt x="125" y="70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0" y="8"/>
                      <a:pt x="74" y="13"/>
                      <a:pt x="66" y="13"/>
                    </a:cubicBezTo>
                    <a:cubicBezTo>
                      <a:pt x="58" y="13"/>
                      <a:pt x="51" y="8"/>
                      <a:pt x="49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61"/>
                      <a:pt x="0" y="61"/>
                      <a:pt x="0" y="61"/>
                    </a:cubicBezTo>
                    <a:lnTo>
                      <a:pt x="7" y="6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de-DE" sz="135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891"/>
              <p:cNvSpPr>
                <a:spLocks/>
              </p:cNvSpPr>
              <p:nvPr/>
            </p:nvSpPr>
            <p:spPr bwMode="auto">
              <a:xfrm>
                <a:off x="14084300" y="2943225"/>
                <a:ext cx="95250" cy="417513"/>
              </a:xfrm>
              <a:custGeom>
                <a:avLst/>
                <a:gdLst>
                  <a:gd name="T0" fmla="*/ 0 w 60"/>
                  <a:gd name="T1" fmla="*/ 0 h 263"/>
                  <a:gd name="T2" fmla="*/ 0 w 60"/>
                  <a:gd name="T3" fmla="*/ 67 h 263"/>
                  <a:gd name="T4" fmla="*/ 0 w 60"/>
                  <a:gd name="T5" fmla="*/ 73 h 263"/>
                  <a:gd name="T6" fmla="*/ 5 w 60"/>
                  <a:gd name="T7" fmla="*/ 73 h 263"/>
                  <a:gd name="T8" fmla="*/ 23 w 60"/>
                  <a:gd name="T9" fmla="*/ 73 h 263"/>
                  <a:gd name="T10" fmla="*/ 23 w 60"/>
                  <a:gd name="T11" fmla="*/ 263 h 263"/>
                  <a:gd name="T12" fmla="*/ 37 w 60"/>
                  <a:gd name="T13" fmla="*/ 263 h 263"/>
                  <a:gd name="T14" fmla="*/ 37 w 60"/>
                  <a:gd name="T15" fmla="*/ 73 h 263"/>
                  <a:gd name="T16" fmla="*/ 54 w 60"/>
                  <a:gd name="T17" fmla="*/ 73 h 263"/>
                  <a:gd name="T18" fmla="*/ 60 w 60"/>
                  <a:gd name="T19" fmla="*/ 73 h 263"/>
                  <a:gd name="T20" fmla="*/ 60 w 60"/>
                  <a:gd name="T21" fmla="*/ 67 h 263"/>
                  <a:gd name="T22" fmla="*/ 60 w 60"/>
                  <a:gd name="T23" fmla="*/ 0 h 263"/>
                  <a:gd name="T24" fmla="*/ 48 w 60"/>
                  <a:gd name="T25" fmla="*/ 0 h 263"/>
                  <a:gd name="T26" fmla="*/ 48 w 60"/>
                  <a:gd name="T27" fmla="*/ 61 h 263"/>
                  <a:gd name="T28" fmla="*/ 44 w 60"/>
                  <a:gd name="T29" fmla="*/ 61 h 263"/>
                  <a:gd name="T30" fmla="*/ 44 w 60"/>
                  <a:gd name="T31" fmla="*/ 0 h 263"/>
                  <a:gd name="T32" fmla="*/ 32 w 60"/>
                  <a:gd name="T33" fmla="*/ 0 h 263"/>
                  <a:gd name="T34" fmla="*/ 32 w 60"/>
                  <a:gd name="T35" fmla="*/ 61 h 263"/>
                  <a:gd name="T36" fmla="*/ 27 w 60"/>
                  <a:gd name="T37" fmla="*/ 61 h 263"/>
                  <a:gd name="T38" fmla="*/ 27 w 60"/>
                  <a:gd name="T39" fmla="*/ 0 h 263"/>
                  <a:gd name="T40" fmla="*/ 16 w 60"/>
                  <a:gd name="T41" fmla="*/ 0 h 263"/>
                  <a:gd name="T42" fmla="*/ 16 w 60"/>
                  <a:gd name="T43" fmla="*/ 61 h 263"/>
                  <a:gd name="T44" fmla="*/ 11 w 60"/>
                  <a:gd name="T45" fmla="*/ 61 h 263"/>
                  <a:gd name="T46" fmla="*/ 11 w 60"/>
                  <a:gd name="T47" fmla="*/ 0 h 263"/>
                  <a:gd name="T48" fmla="*/ 0 w 60"/>
                  <a:gd name="T49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" h="263">
                    <a:moveTo>
                      <a:pt x="0" y="0"/>
                    </a:moveTo>
                    <a:lnTo>
                      <a:pt x="0" y="67"/>
                    </a:lnTo>
                    <a:lnTo>
                      <a:pt x="0" y="73"/>
                    </a:lnTo>
                    <a:lnTo>
                      <a:pt x="5" y="73"/>
                    </a:lnTo>
                    <a:lnTo>
                      <a:pt x="23" y="73"/>
                    </a:lnTo>
                    <a:lnTo>
                      <a:pt x="23" y="263"/>
                    </a:lnTo>
                    <a:lnTo>
                      <a:pt x="37" y="263"/>
                    </a:lnTo>
                    <a:lnTo>
                      <a:pt x="37" y="73"/>
                    </a:lnTo>
                    <a:lnTo>
                      <a:pt x="54" y="73"/>
                    </a:lnTo>
                    <a:lnTo>
                      <a:pt x="60" y="73"/>
                    </a:lnTo>
                    <a:lnTo>
                      <a:pt x="60" y="67"/>
                    </a:lnTo>
                    <a:lnTo>
                      <a:pt x="60" y="0"/>
                    </a:lnTo>
                    <a:lnTo>
                      <a:pt x="48" y="0"/>
                    </a:lnTo>
                    <a:lnTo>
                      <a:pt x="48" y="61"/>
                    </a:lnTo>
                    <a:lnTo>
                      <a:pt x="44" y="61"/>
                    </a:lnTo>
                    <a:lnTo>
                      <a:pt x="44" y="0"/>
                    </a:lnTo>
                    <a:lnTo>
                      <a:pt x="32" y="0"/>
                    </a:lnTo>
                    <a:lnTo>
                      <a:pt x="32" y="61"/>
                    </a:lnTo>
                    <a:lnTo>
                      <a:pt x="27" y="61"/>
                    </a:lnTo>
                    <a:lnTo>
                      <a:pt x="27" y="0"/>
                    </a:lnTo>
                    <a:lnTo>
                      <a:pt x="16" y="0"/>
                    </a:lnTo>
                    <a:lnTo>
                      <a:pt x="16" y="61"/>
                    </a:lnTo>
                    <a:lnTo>
                      <a:pt x="11" y="61"/>
                    </a:lnTo>
                    <a:lnTo>
                      <a:pt x="1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de-DE" sz="1350" kern="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1" name="TextBox 85"/>
          <p:cNvSpPr txBox="1"/>
          <p:nvPr/>
        </p:nvSpPr>
        <p:spPr>
          <a:xfrm flipH="1">
            <a:off x="4371731" y="4565000"/>
            <a:ext cx="81950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dirty="0">
                <a:solidFill>
                  <a:schemeClr val="accent1"/>
                </a:solidFill>
              </a:rPr>
              <a:t>Farmer</a:t>
            </a:r>
          </a:p>
        </p:txBody>
      </p:sp>
      <p:sp>
        <p:nvSpPr>
          <p:cNvPr id="53" name="Rectangle 189">
            <a:extLst>
              <a:ext uri="{FF2B5EF4-FFF2-40B4-BE49-F238E27FC236}">
                <a16:creationId xmlns="" xmlns:a16="http://schemas.microsoft.com/office/drawing/2014/main" id="{65A1184C-A385-4F03-A1D4-36FEF239F89B}"/>
              </a:ext>
            </a:extLst>
          </p:cNvPr>
          <p:cNvSpPr/>
          <p:nvPr/>
        </p:nvSpPr>
        <p:spPr>
          <a:xfrm>
            <a:off x="2580423" y="2430550"/>
            <a:ext cx="3099584" cy="459305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endParaRPr lang="de-DE" sz="1013" dirty="0">
              <a:solidFill>
                <a:schemeClr val="bg1"/>
              </a:solidFill>
            </a:endParaRPr>
          </a:p>
        </p:txBody>
      </p:sp>
      <p:sp>
        <p:nvSpPr>
          <p:cNvPr id="54" name="Rectangle 183">
            <a:extLst>
              <a:ext uri="{FF2B5EF4-FFF2-40B4-BE49-F238E27FC236}">
                <a16:creationId xmlns="" xmlns:a16="http://schemas.microsoft.com/office/drawing/2014/main" id="{DA910C08-0706-4653-9D28-7C0B52626D21}"/>
              </a:ext>
            </a:extLst>
          </p:cNvPr>
          <p:cNvSpPr/>
          <p:nvPr/>
        </p:nvSpPr>
        <p:spPr>
          <a:xfrm>
            <a:off x="994464" y="2915020"/>
            <a:ext cx="7790003" cy="48237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endParaRPr lang="de-DE" sz="1013" dirty="0">
              <a:solidFill>
                <a:schemeClr val="bg1"/>
              </a:solidFill>
            </a:endParaRPr>
          </a:p>
        </p:txBody>
      </p:sp>
      <p:sp>
        <p:nvSpPr>
          <p:cNvPr id="55" name="Rectangle 173">
            <a:extLst>
              <a:ext uri="{FF2B5EF4-FFF2-40B4-BE49-F238E27FC236}">
                <a16:creationId xmlns="" xmlns:a16="http://schemas.microsoft.com/office/drawing/2014/main" id="{6D93ABC4-7CC3-4C93-8617-8490CB3E17D6}"/>
              </a:ext>
            </a:extLst>
          </p:cNvPr>
          <p:cNvSpPr/>
          <p:nvPr/>
        </p:nvSpPr>
        <p:spPr>
          <a:xfrm>
            <a:off x="1439652" y="2084614"/>
            <a:ext cx="5727589" cy="29058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endParaRPr lang="de-DE" sz="1013" dirty="0">
              <a:solidFill>
                <a:schemeClr val="bg1"/>
              </a:solidFill>
            </a:endParaRPr>
          </a:p>
        </p:txBody>
      </p:sp>
      <p:sp>
        <p:nvSpPr>
          <p:cNvPr id="67" name="Rectangle 85">
            <a:extLst>
              <a:ext uri="{FF2B5EF4-FFF2-40B4-BE49-F238E27FC236}">
                <a16:creationId xmlns="" xmlns:a16="http://schemas.microsoft.com/office/drawing/2014/main" id="{64065A91-820A-4BC1-95CC-8F5B73410F4D}"/>
              </a:ext>
            </a:extLst>
          </p:cNvPr>
          <p:cNvSpPr/>
          <p:nvPr/>
        </p:nvSpPr>
        <p:spPr>
          <a:xfrm>
            <a:off x="1027071" y="2976981"/>
            <a:ext cx="2289289" cy="360112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20250" rIns="20250" bIns="40505" rtlCol="0" anchor="ctr"/>
          <a:lstStyle/>
          <a:p>
            <a:pPr algn="ctr">
              <a:lnSpc>
                <a:spcPct val="90000"/>
              </a:lnSpc>
              <a:buClr>
                <a:schemeClr val="bg1"/>
              </a:buClr>
            </a:pPr>
            <a:r>
              <a:rPr lang="en-US" sz="675" b="1" dirty="0">
                <a:solidFill>
                  <a:schemeClr val="bg1"/>
                </a:solidFill>
              </a:rPr>
              <a:t>Business administration</a:t>
            </a:r>
          </a:p>
        </p:txBody>
      </p:sp>
      <p:sp>
        <p:nvSpPr>
          <p:cNvPr id="68" name="Isosceles Triangle 115">
            <a:extLst>
              <a:ext uri="{FF2B5EF4-FFF2-40B4-BE49-F238E27FC236}">
                <a16:creationId xmlns="" xmlns:a16="http://schemas.microsoft.com/office/drawing/2014/main" id="{96FC3214-CDC8-4871-9DB5-CA6CE5FC03B4}"/>
              </a:ext>
            </a:extLst>
          </p:cNvPr>
          <p:cNvSpPr/>
          <p:nvPr/>
        </p:nvSpPr>
        <p:spPr>
          <a:xfrm>
            <a:off x="2732185" y="2389860"/>
            <a:ext cx="715912" cy="101588"/>
          </a:xfrm>
          <a:prstGeom prst="triangle">
            <a:avLst/>
          </a:prstGeom>
          <a:solidFill>
            <a:schemeClr val="accent4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endParaRPr lang="de-DE" sz="1013" dirty="0">
              <a:solidFill>
                <a:schemeClr val="bg1"/>
              </a:solidFill>
            </a:endParaRPr>
          </a:p>
        </p:txBody>
      </p:sp>
      <p:sp>
        <p:nvSpPr>
          <p:cNvPr id="70" name="Rectangle 116">
            <a:extLst>
              <a:ext uri="{FF2B5EF4-FFF2-40B4-BE49-F238E27FC236}">
                <a16:creationId xmlns="" xmlns:a16="http://schemas.microsoft.com/office/drawing/2014/main" id="{CE55A45D-0053-4AA4-BA62-7EFE6FDD91D2}"/>
              </a:ext>
            </a:extLst>
          </p:cNvPr>
          <p:cNvSpPr/>
          <p:nvPr/>
        </p:nvSpPr>
        <p:spPr>
          <a:xfrm>
            <a:off x="2625043" y="2480962"/>
            <a:ext cx="943702" cy="37248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r>
              <a:rPr lang="de-DE" sz="675" b="1" dirty="0">
                <a:solidFill>
                  <a:schemeClr val="accent1"/>
                </a:solidFill>
              </a:rPr>
              <a:t>Seed</a:t>
            </a:r>
          </a:p>
        </p:txBody>
      </p:sp>
      <p:sp>
        <p:nvSpPr>
          <p:cNvPr id="71" name="Isosceles Triangle 118">
            <a:extLst>
              <a:ext uri="{FF2B5EF4-FFF2-40B4-BE49-F238E27FC236}">
                <a16:creationId xmlns="" xmlns:a16="http://schemas.microsoft.com/office/drawing/2014/main" id="{4986C9A8-F39A-40C7-A846-030B6A51CC89}"/>
              </a:ext>
            </a:extLst>
          </p:cNvPr>
          <p:cNvSpPr/>
          <p:nvPr/>
        </p:nvSpPr>
        <p:spPr>
          <a:xfrm>
            <a:off x="3759756" y="2389860"/>
            <a:ext cx="715912" cy="101588"/>
          </a:xfrm>
          <a:prstGeom prst="triangle">
            <a:avLst/>
          </a:prstGeom>
          <a:solidFill>
            <a:schemeClr val="accent4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endParaRPr lang="de-DE" sz="1013" dirty="0">
              <a:solidFill>
                <a:schemeClr val="bg1"/>
              </a:solidFill>
            </a:endParaRPr>
          </a:p>
        </p:txBody>
      </p:sp>
      <p:sp>
        <p:nvSpPr>
          <p:cNvPr id="79" name="Rectangle 119">
            <a:extLst>
              <a:ext uri="{FF2B5EF4-FFF2-40B4-BE49-F238E27FC236}">
                <a16:creationId xmlns="" xmlns:a16="http://schemas.microsoft.com/office/drawing/2014/main" id="{2B8B0C66-5569-4960-86B7-DD0412B90E01}"/>
              </a:ext>
            </a:extLst>
          </p:cNvPr>
          <p:cNvSpPr/>
          <p:nvPr/>
        </p:nvSpPr>
        <p:spPr>
          <a:xfrm>
            <a:off x="3653458" y="2472854"/>
            <a:ext cx="943702" cy="37248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r>
              <a:rPr lang="de-DE" sz="675" b="1" dirty="0" err="1">
                <a:solidFill>
                  <a:schemeClr val="accent1"/>
                </a:solidFill>
              </a:rPr>
              <a:t>Fertilizer</a:t>
            </a:r>
            <a:endParaRPr lang="de-DE" sz="675" b="1" dirty="0">
              <a:solidFill>
                <a:schemeClr val="accent1"/>
              </a:solidFill>
            </a:endParaRPr>
          </a:p>
        </p:txBody>
      </p:sp>
      <p:sp>
        <p:nvSpPr>
          <p:cNvPr id="85" name="Isosceles Triangle 121">
            <a:extLst>
              <a:ext uri="{FF2B5EF4-FFF2-40B4-BE49-F238E27FC236}">
                <a16:creationId xmlns="" xmlns:a16="http://schemas.microsoft.com/office/drawing/2014/main" id="{2665CB64-AC0D-4EBE-A7F6-FC0693FC804B}"/>
              </a:ext>
            </a:extLst>
          </p:cNvPr>
          <p:cNvSpPr/>
          <p:nvPr/>
        </p:nvSpPr>
        <p:spPr>
          <a:xfrm>
            <a:off x="4781478" y="2390452"/>
            <a:ext cx="715912" cy="101588"/>
          </a:xfrm>
          <a:prstGeom prst="triangle">
            <a:avLst/>
          </a:prstGeom>
          <a:solidFill>
            <a:schemeClr val="accent4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endParaRPr lang="de-DE" sz="1013" dirty="0">
              <a:solidFill>
                <a:schemeClr val="bg1"/>
              </a:solidFill>
            </a:endParaRPr>
          </a:p>
        </p:txBody>
      </p:sp>
      <p:sp>
        <p:nvSpPr>
          <p:cNvPr id="87" name="Rectangle 122">
            <a:extLst>
              <a:ext uri="{FF2B5EF4-FFF2-40B4-BE49-F238E27FC236}">
                <a16:creationId xmlns="" xmlns:a16="http://schemas.microsoft.com/office/drawing/2014/main" id="{12778707-9394-45EB-9AB4-796CC2751B13}"/>
              </a:ext>
            </a:extLst>
          </p:cNvPr>
          <p:cNvSpPr/>
          <p:nvPr/>
        </p:nvSpPr>
        <p:spPr>
          <a:xfrm>
            <a:off x="4676322" y="2484541"/>
            <a:ext cx="943702" cy="37248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lnSpc>
                <a:spcPct val="90000"/>
              </a:lnSpc>
              <a:buClr>
                <a:schemeClr val="bg1"/>
              </a:buClr>
            </a:pPr>
            <a:r>
              <a:rPr lang="de-DE" sz="675" b="1" dirty="0" err="1">
                <a:solidFill>
                  <a:schemeClr val="accent1"/>
                </a:solidFill>
              </a:rPr>
              <a:t>Agrochemicals</a:t>
            </a:r>
            <a:endParaRPr lang="de-DE" sz="675" b="1" dirty="0">
              <a:solidFill>
                <a:schemeClr val="accent1"/>
              </a:solidFill>
            </a:endParaRPr>
          </a:p>
        </p:txBody>
      </p:sp>
      <p:sp>
        <p:nvSpPr>
          <p:cNvPr id="89" name="Rectangle 134">
            <a:extLst>
              <a:ext uri="{FF2B5EF4-FFF2-40B4-BE49-F238E27FC236}">
                <a16:creationId xmlns="" xmlns:a16="http://schemas.microsoft.com/office/drawing/2014/main" id="{2AF81F3F-9E3C-4DAA-ABBF-9988C015120D}"/>
              </a:ext>
            </a:extLst>
          </p:cNvPr>
          <p:cNvSpPr/>
          <p:nvPr/>
        </p:nvSpPr>
        <p:spPr>
          <a:xfrm>
            <a:off x="3669976" y="2975316"/>
            <a:ext cx="2353436" cy="361777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20250" rIns="20250" bIns="40505" rtlCol="0" anchor="ctr"/>
          <a:lstStyle/>
          <a:p>
            <a:pPr algn="ctr">
              <a:lnSpc>
                <a:spcPct val="90000"/>
              </a:lnSpc>
              <a:buClr>
                <a:schemeClr val="bg1"/>
              </a:buClr>
            </a:pPr>
            <a:r>
              <a:rPr lang="en-US" sz="675" b="1" dirty="0">
                <a:solidFill>
                  <a:schemeClr val="bg1"/>
                </a:solidFill>
              </a:rPr>
              <a:t>Documentation &amp; regulatory</a:t>
            </a:r>
          </a:p>
        </p:txBody>
      </p:sp>
      <p:sp>
        <p:nvSpPr>
          <p:cNvPr id="108" name="Rectangle: Rounded Corners 111">
            <a:extLst>
              <a:ext uri="{FF2B5EF4-FFF2-40B4-BE49-F238E27FC236}">
                <a16:creationId xmlns="" xmlns:a16="http://schemas.microsoft.com/office/drawing/2014/main" id="{3E253AF6-E41A-44C9-9531-5E4E3DE354FF}"/>
              </a:ext>
            </a:extLst>
          </p:cNvPr>
          <p:cNvSpPr/>
          <p:nvPr/>
        </p:nvSpPr>
        <p:spPr>
          <a:xfrm>
            <a:off x="1501699" y="2125764"/>
            <a:ext cx="5635586" cy="21546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r>
              <a:rPr lang="en-US" sz="788" b="1" dirty="0">
                <a:solidFill>
                  <a:schemeClr val="accent1"/>
                </a:solidFill>
              </a:rPr>
              <a:t>Operations &amp; Agricultural Machinery</a:t>
            </a:r>
          </a:p>
        </p:txBody>
      </p:sp>
      <p:sp>
        <p:nvSpPr>
          <p:cNvPr id="109" name="Rectangle 117">
            <a:extLst>
              <a:ext uri="{FF2B5EF4-FFF2-40B4-BE49-F238E27FC236}">
                <a16:creationId xmlns="" xmlns:a16="http://schemas.microsoft.com/office/drawing/2014/main" id="{3643B4AB-C8F5-48C8-AE87-7919A157CCE7}"/>
              </a:ext>
            </a:extLst>
          </p:cNvPr>
          <p:cNvSpPr/>
          <p:nvPr/>
        </p:nvSpPr>
        <p:spPr>
          <a:xfrm>
            <a:off x="6377026" y="2975316"/>
            <a:ext cx="2353436" cy="361777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20250" rIns="20250" bIns="40505" rtlCol="0" anchor="ctr"/>
          <a:lstStyle/>
          <a:p>
            <a:pPr algn="ctr">
              <a:lnSpc>
                <a:spcPct val="90000"/>
              </a:lnSpc>
              <a:buClr>
                <a:schemeClr val="bg1"/>
              </a:buClr>
            </a:pPr>
            <a:r>
              <a:rPr lang="en-US" sz="675" b="1" dirty="0">
                <a:solidFill>
                  <a:schemeClr val="bg1"/>
                </a:solidFill>
              </a:rPr>
              <a:t>Agronomics</a:t>
            </a:r>
          </a:p>
        </p:txBody>
      </p:sp>
      <p:sp>
        <p:nvSpPr>
          <p:cNvPr id="110" name="Freeform 885">
            <a:extLst>
              <a:ext uri="{FF2B5EF4-FFF2-40B4-BE49-F238E27FC236}">
                <a16:creationId xmlns="" xmlns:a16="http://schemas.microsoft.com/office/drawing/2014/main" id="{9166C3CB-F65C-40CD-98AF-933D09CF2490}"/>
              </a:ext>
            </a:extLst>
          </p:cNvPr>
          <p:cNvSpPr>
            <a:spLocks noEditPoints="1"/>
          </p:cNvSpPr>
          <p:nvPr/>
        </p:nvSpPr>
        <p:spPr bwMode="auto">
          <a:xfrm>
            <a:off x="6826902" y="2163240"/>
            <a:ext cx="216908" cy="159757"/>
          </a:xfrm>
          <a:custGeom>
            <a:avLst/>
            <a:gdLst>
              <a:gd name="T0" fmla="*/ 227 w 231"/>
              <a:gd name="T1" fmla="*/ 117 h 196"/>
              <a:gd name="T2" fmla="*/ 218 w 231"/>
              <a:gd name="T3" fmla="*/ 103 h 196"/>
              <a:gd name="T4" fmla="*/ 218 w 231"/>
              <a:gd name="T5" fmla="*/ 80 h 196"/>
              <a:gd name="T6" fmla="*/ 212 w 231"/>
              <a:gd name="T7" fmla="*/ 19 h 196"/>
              <a:gd name="T8" fmla="*/ 218 w 231"/>
              <a:gd name="T9" fmla="*/ 0 h 196"/>
              <a:gd name="T10" fmla="*/ 104 w 231"/>
              <a:gd name="T11" fmla="*/ 19 h 196"/>
              <a:gd name="T12" fmla="*/ 101 w 231"/>
              <a:gd name="T13" fmla="*/ 69 h 196"/>
              <a:gd name="T14" fmla="*/ 75 w 231"/>
              <a:gd name="T15" fmla="*/ 40 h 196"/>
              <a:gd name="T16" fmla="*/ 70 w 231"/>
              <a:gd name="T17" fmla="*/ 21 h 196"/>
              <a:gd name="T18" fmla="*/ 67 w 231"/>
              <a:gd name="T19" fmla="*/ 10 h 196"/>
              <a:gd name="T20" fmla="*/ 56 w 231"/>
              <a:gd name="T21" fmla="*/ 4 h 196"/>
              <a:gd name="T22" fmla="*/ 55 w 231"/>
              <a:gd name="T23" fmla="*/ 4 h 196"/>
              <a:gd name="T24" fmla="*/ 42 w 231"/>
              <a:gd name="T25" fmla="*/ 17 h 196"/>
              <a:gd name="T26" fmla="*/ 56 w 231"/>
              <a:gd name="T27" fmla="*/ 18 h 196"/>
              <a:gd name="T28" fmla="*/ 57 w 231"/>
              <a:gd name="T29" fmla="*/ 21 h 196"/>
              <a:gd name="T30" fmla="*/ 57 w 231"/>
              <a:gd name="T31" fmla="*/ 40 h 196"/>
              <a:gd name="T32" fmla="*/ 52 w 231"/>
              <a:gd name="T33" fmla="*/ 69 h 196"/>
              <a:gd name="T34" fmla="*/ 0 w 231"/>
              <a:gd name="T35" fmla="*/ 120 h 196"/>
              <a:gd name="T36" fmla="*/ 19 w 231"/>
              <a:gd name="T37" fmla="*/ 143 h 196"/>
              <a:gd name="T38" fmla="*/ 28 w 231"/>
              <a:gd name="T39" fmla="*/ 182 h 196"/>
              <a:gd name="T40" fmla="*/ 81 w 231"/>
              <a:gd name="T41" fmla="*/ 182 h 196"/>
              <a:gd name="T42" fmla="*/ 91 w 231"/>
              <a:gd name="T43" fmla="*/ 145 h 196"/>
              <a:gd name="T44" fmla="*/ 119 w 231"/>
              <a:gd name="T45" fmla="*/ 145 h 196"/>
              <a:gd name="T46" fmla="*/ 120 w 231"/>
              <a:gd name="T47" fmla="*/ 160 h 196"/>
              <a:gd name="T48" fmla="*/ 130 w 231"/>
              <a:gd name="T49" fmla="*/ 172 h 196"/>
              <a:gd name="T50" fmla="*/ 139 w 231"/>
              <a:gd name="T51" fmla="*/ 181 h 196"/>
              <a:gd name="T52" fmla="*/ 152 w 231"/>
              <a:gd name="T53" fmla="*/ 192 h 196"/>
              <a:gd name="T54" fmla="*/ 165 w 231"/>
              <a:gd name="T55" fmla="*/ 193 h 196"/>
              <a:gd name="T56" fmla="*/ 181 w 231"/>
              <a:gd name="T57" fmla="*/ 196 h 196"/>
              <a:gd name="T58" fmla="*/ 194 w 231"/>
              <a:gd name="T59" fmla="*/ 190 h 196"/>
              <a:gd name="T60" fmla="*/ 209 w 231"/>
              <a:gd name="T61" fmla="*/ 184 h 196"/>
              <a:gd name="T62" fmla="*/ 212 w 231"/>
              <a:gd name="T63" fmla="*/ 177 h 196"/>
              <a:gd name="T64" fmla="*/ 219 w 231"/>
              <a:gd name="T65" fmla="*/ 174 h 196"/>
              <a:gd name="T66" fmla="*/ 224 w 231"/>
              <a:gd name="T67" fmla="*/ 159 h 196"/>
              <a:gd name="T68" fmla="*/ 231 w 231"/>
              <a:gd name="T69" fmla="*/ 147 h 196"/>
              <a:gd name="T70" fmla="*/ 228 w 231"/>
              <a:gd name="T71" fmla="*/ 130 h 196"/>
              <a:gd name="T72" fmla="*/ 33 w 231"/>
              <a:gd name="T73" fmla="*/ 83 h 196"/>
              <a:gd name="T74" fmla="*/ 60 w 231"/>
              <a:gd name="T75" fmla="*/ 88 h 196"/>
              <a:gd name="T76" fmla="*/ 33 w 231"/>
              <a:gd name="T77" fmla="*/ 83 h 196"/>
              <a:gd name="T78" fmla="*/ 60 w 231"/>
              <a:gd name="T79" fmla="*/ 92 h 196"/>
              <a:gd name="T80" fmla="*/ 33 w 231"/>
              <a:gd name="T81" fmla="*/ 97 h 196"/>
              <a:gd name="T82" fmla="*/ 33 w 231"/>
              <a:gd name="T83" fmla="*/ 101 h 196"/>
              <a:gd name="T84" fmla="*/ 60 w 231"/>
              <a:gd name="T85" fmla="*/ 106 h 196"/>
              <a:gd name="T86" fmla="*/ 33 w 231"/>
              <a:gd name="T87" fmla="*/ 101 h 196"/>
              <a:gd name="T88" fmla="*/ 55 w 231"/>
              <a:gd name="T89" fmla="*/ 171 h 196"/>
              <a:gd name="T90" fmla="*/ 39 w 231"/>
              <a:gd name="T91" fmla="*/ 155 h 196"/>
              <a:gd name="T92" fmla="*/ 55 w 231"/>
              <a:gd name="T93" fmla="*/ 140 h 196"/>
              <a:gd name="T94" fmla="*/ 70 w 231"/>
              <a:gd name="T95" fmla="*/ 155 h 196"/>
              <a:gd name="T96" fmla="*/ 125 w 231"/>
              <a:gd name="T97" fmla="*/ 79 h 196"/>
              <a:gd name="T98" fmla="*/ 191 w 231"/>
              <a:gd name="T99" fmla="*/ 31 h 196"/>
              <a:gd name="T100" fmla="*/ 125 w 231"/>
              <a:gd name="T101" fmla="*/ 79 h 196"/>
              <a:gd name="T102" fmla="*/ 173 w 231"/>
              <a:gd name="T103" fmla="*/ 171 h 196"/>
              <a:gd name="T104" fmla="*/ 141 w 231"/>
              <a:gd name="T105" fmla="*/ 138 h 196"/>
              <a:gd name="T106" fmla="*/ 173 w 231"/>
              <a:gd name="T107" fmla="*/ 105 h 196"/>
              <a:gd name="T108" fmla="*/ 206 w 231"/>
              <a:gd name="T109" fmla="*/ 138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31" h="196">
                <a:moveTo>
                  <a:pt x="225" y="118"/>
                </a:moveTo>
                <a:cubicBezTo>
                  <a:pt x="227" y="117"/>
                  <a:pt x="227" y="117"/>
                  <a:pt x="227" y="117"/>
                </a:cubicBezTo>
                <a:cubicBezTo>
                  <a:pt x="219" y="103"/>
                  <a:pt x="219" y="103"/>
                  <a:pt x="219" y="103"/>
                </a:cubicBezTo>
                <a:cubicBezTo>
                  <a:pt x="218" y="103"/>
                  <a:pt x="218" y="103"/>
                  <a:pt x="218" y="103"/>
                </a:cubicBezTo>
                <a:cubicBezTo>
                  <a:pt x="218" y="81"/>
                  <a:pt x="218" y="81"/>
                  <a:pt x="218" y="81"/>
                </a:cubicBezTo>
                <a:cubicBezTo>
                  <a:pt x="218" y="80"/>
                  <a:pt x="218" y="80"/>
                  <a:pt x="218" y="80"/>
                </a:cubicBezTo>
                <a:cubicBezTo>
                  <a:pt x="218" y="80"/>
                  <a:pt x="218" y="80"/>
                  <a:pt x="218" y="80"/>
                </a:cubicBezTo>
                <a:cubicBezTo>
                  <a:pt x="212" y="19"/>
                  <a:pt x="212" y="19"/>
                  <a:pt x="212" y="19"/>
                </a:cubicBezTo>
                <a:cubicBezTo>
                  <a:pt x="218" y="19"/>
                  <a:pt x="218" y="19"/>
                  <a:pt x="218" y="19"/>
                </a:cubicBezTo>
                <a:cubicBezTo>
                  <a:pt x="218" y="0"/>
                  <a:pt x="218" y="0"/>
                  <a:pt x="218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04" y="19"/>
                  <a:pt x="104" y="19"/>
                  <a:pt x="104" y="19"/>
                </a:cubicBezTo>
                <a:cubicBezTo>
                  <a:pt x="111" y="19"/>
                  <a:pt x="111" y="19"/>
                  <a:pt x="111" y="19"/>
                </a:cubicBezTo>
                <a:cubicBezTo>
                  <a:pt x="101" y="69"/>
                  <a:pt x="101" y="69"/>
                  <a:pt x="101" y="69"/>
                </a:cubicBezTo>
                <a:cubicBezTo>
                  <a:pt x="75" y="69"/>
                  <a:pt x="75" y="69"/>
                  <a:pt x="75" y="69"/>
                </a:cubicBezTo>
                <a:cubicBezTo>
                  <a:pt x="75" y="40"/>
                  <a:pt x="75" y="40"/>
                  <a:pt x="75" y="40"/>
                </a:cubicBezTo>
                <a:cubicBezTo>
                  <a:pt x="70" y="40"/>
                  <a:pt x="70" y="40"/>
                  <a:pt x="70" y="40"/>
                </a:cubicBezTo>
                <a:cubicBezTo>
                  <a:pt x="70" y="21"/>
                  <a:pt x="70" y="21"/>
                  <a:pt x="70" y="21"/>
                </a:cubicBezTo>
                <a:cubicBezTo>
                  <a:pt x="70" y="21"/>
                  <a:pt x="70" y="21"/>
                  <a:pt x="70" y="21"/>
                </a:cubicBezTo>
                <a:cubicBezTo>
                  <a:pt x="70" y="17"/>
                  <a:pt x="69" y="13"/>
                  <a:pt x="67" y="10"/>
                </a:cubicBezTo>
                <a:cubicBezTo>
                  <a:pt x="67" y="10"/>
                  <a:pt x="67" y="10"/>
                  <a:pt x="67" y="10"/>
                </a:cubicBezTo>
                <a:cubicBezTo>
                  <a:pt x="64" y="7"/>
                  <a:pt x="61" y="5"/>
                  <a:pt x="56" y="4"/>
                </a:cubicBezTo>
                <a:cubicBezTo>
                  <a:pt x="55" y="4"/>
                  <a:pt x="55" y="4"/>
                  <a:pt x="55" y="4"/>
                </a:cubicBezTo>
                <a:cubicBezTo>
                  <a:pt x="55" y="4"/>
                  <a:pt x="55" y="4"/>
                  <a:pt x="55" y="4"/>
                </a:cubicBezTo>
                <a:cubicBezTo>
                  <a:pt x="42" y="4"/>
                  <a:pt x="42" y="4"/>
                  <a:pt x="42" y="4"/>
                </a:cubicBezTo>
                <a:cubicBezTo>
                  <a:pt x="42" y="17"/>
                  <a:pt x="42" y="17"/>
                  <a:pt x="42" y="17"/>
                </a:cubicBezTo>
                <a:cubicBezTo>
                  <a:pt x="55" y="17"/>
                  <a:pt x="55" y="17"/>
                  <a:pt x="55" y="17"/>
                </a:cubicBezTo>
                <a:cubicBezTo>
                  <a:pt x="56" y="17"/>
                  <a:pt x="56" y="18"/>
                  <a:pt x="56" y="18"/>
                </a:cubicBezTo>
                <a:cubicBezTo>
                  <a:pt x="56" y="18"/>
                  <a:pt x="56" y="18"/>
                  <a:pt x="56" y="18"/>
                </a:cubicBezTo>
                <a:cubicBezTo>
                  <a:pt x="57" y="18"/>
                  <a:pt x="57" y="20"/>
                  <a:pt x="57" y="21"/>
                </a:cubicBezTo>
                <a:cubicBezTo>
                  <a:pt x="57" y="21"/>
                  <a:pt x="57" y="21"/>
                  <a:pt x="57" y="21"/>
                </a:cubicBezTo>
                <a:cubicBezTo>
                  <a:pt x="57" y="40"/>
                  <a:pt x="57" y="40"/>
                  <a:pt x="57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52" y="69"/>
                  <a:pt x="52" y="69"/>
                  <a:pt x="52" y="69"/>
                </a:cubicBezTo>
                <a:cubicBezTo>
                  <a:pt x="13" y="69"/>
                  <a:pt x="13" y="69"/>
                  <a:pt x="13" y="69"/>
                </a:cubicBezTo>
                <a:cubicBezTo>
                  <a:pt x="0" y="120"/>
                  <a:pt x="0" y="120"/>
                  <a:pt x="0" y="120"/>
                </a:cubicBezTo>
                <a:cubicBezTo>
                  <a:pt x="9" y="143"/>
                  <a:pt x="9" y="143"/>
                  <a:pt x="9" y="143"/>
                </a:cubicBezTo>
                <a:cubicBezTo>
                  <a:pt x="19" y="143"/>
                  <a:pt x="19" y="143"/>
                  <a:pt x="19" y="143"/>
                </a:cubicBezTo>
                <a:cubicBezTo>
                  <a:pt x="17" y="147"/>
                  <a:pt x="17" y="151"/>
                  <a:pt x="17" y="155"/>
                </a:cubicBezTo>
                <a:cubicBezTo>
                  <a:pt x="17" y="166"/>
                  <a:pt x="21" y="175"/>
                  <a:pt x="28" y="182"/>
                </a:cubicBezTo>
                <a:cubicBezTo>
                  <a:pt x="35" y="189"/>
                  <a:pt x="44" y="193"/>
                  <a:pt x="55" y="193"/>
                </a:cubicBezTo>
                <a:cubicBezTo>
                  <a:pt x="65" y="193"/>
                  <a:pt x="74" y="189"/>
                  <a:pt x="81" y="182"/>
                </a:cubicBezTo>
                <a:cubicBezTo>
                  <a:pt x="88" y="175"/>
                  <a:pt x="92" y="166"/>
                  <a:pt x="92" y="155"/>
                </a:cubicBezTo>
                <a:cubicBezTo>
                  <a:pt x="92" y="152"/>
                  <a:pt x="92" y="149"/>
                  <a:pt x="91" y="145"/>
                </a:cubicBezTo>
                <a:cubicBezTo>
                  <a:pt x="106" y="145"/>
                  <a:pt x="106" y="145"/>
                  <a:pt x="106" y="145"/>
                </a:cubicBezTo>
                <a:cubicBezTo>
                  <a:pt x="119" y="145"/>
                  <a:pt x="119" y="145"/>
                  <a:pt x="119" y="145"/>
                </a:cubicBezTo>
                <a:cubicBezTo>
                  <a:pt x="120" y="150"/>
                  <a:pt x="121" y="154"/>
                  <a:pt x="122" y="159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28" y="174"/>
                  <a:pt x="128" y="174"/>
                  <a:pt x="128" y="174"/>
                </a:cubicBezTo>
                <a:cubicBezTo>
                  <a:pt x="130" y="172"/>
                  <a:pt x="130" y="172"/>
                  <a:pt x="130" y="172"/>
                </a:cubicBezTo>
                <a:cubicBezTo>
                  <a:pt x="132" y="174"/>
                  <a:pt x="133" y="176"/>
                  <a:pt x="135" y="177"/>
                </a:cubicBezTo>
                <a:cubicBezTo>
                  <a:pt x="136" y="179"/>
                  <a:pt x="138" y="180"/>
                  <a:pt x="139" y="181"/>
                </a:cubicBezTo>
                <a:cubicBezTo>
                  <a:pt x="138" y="184"/>
                  <a:pt x="138" y="184"/>
                  <a:pt x="138" y="184"/>
                </a:cubicBezTo>
                <a:cubicBezTo>
                  <a:pt x="152" y="192"/>
                  <a:pt x="152" y="192"/>
                  <a:pt x="152" y="192"/>
                </a:cubicBezTo>
                <a:cubicBezTo>
                  <a:pt x="153" y="189"/>
                  <a:pt x="153" y="189"/>
                  <a:pt x="153" y="189"/>
                </a:cubicBezTo>
                <a:cubicBezTo>
                  <a:pt x="157" y="191"/>
                  <a:pt x="161" y="192"/>
                  <a:pt x="165" y="193"/>
                </a:cubicBezTo>
                <a:cubicBezTo>
                  <a:pt x="165" y="196"/>
                  <a:pt x="165" y="196"/>
                  <a:pt x="165" y="196"/>
                </a:cubicBezTo>
                <a:cubicBezTo>
                  <a:pt x="181" y="196"/>
                  <a:pt x="181" y="196"/>
                  <a:pt x="181" y="196"/>
                </a:cubicBezTo>
                <a:cubicBezTo>
                  <a:pt x="181" y="193"/>
                  <a:pt x="181" y="193"/>
                  <a:pt x="181" y="193"/>
                </a:cubicBezTo>
                <a:cubicBezTo>
                  <a:pt x="186" y="192"/>
                  <a:pt x="190" y="191"/>
                  <a:pt x="194" y="190"/>
                </a:cubicBezTo>
                <a:cubicBezTo>
                  <a:pt x="195" y="192"/>
                  <a:pt x="195" y="192"/>
                  <a:pt x="195" y="192"/>
                </a:cubicBezTo>
                <a:cubicBezTo>
                  <a:pt x="209" y="184"/>
                  <a:pt x="209" y="184"/>
                  <a:pt x="209" y="184"/>
                </a:cubicBezTo>
                <a:cubicBezTo>
                  <a:pt x="208" y="181"/>
                  <a:pt x="208" y="181"/>
                  <a:pt x="208" y="181"/>
                </a:cubicBezTo>
                <a:cubicBezTo>
                  <a:pt x="209" y="180"/>
                  <a:pt x="211" y="179"/>
                  <a:pt x="212" y="177"/>
                </a:cubicBezTo>
                <a:cubicBezTo>
                  <a:pt x="214" y="176"/>
                  <a:pt x="215" y="174"/>
                  <a:pt x="216" y="173"/>
                </a:cubicBezTo>
                <a:cubicBezTo>
                  <a:pt x="219" y="174"/>
                  <a:pt x="219" y="174"/>
                  <a:pt x="219" y="174"/>
                </a:cubicBezTo>
                <a:cubicBezTo>
                  <a:pt x="227" y="160"/>
                  <a:pt x="227" y="160"/>
                  <a:pt x="227" y="160"/>
                </a:cubicBezTo>
                <a:cubicBezTo>
                  <a:pt x="224" y="159"/>
                  <a:pt x="224" y="159"/>
                  <a:pt x="224" y="159"/>
                </a:cubicBezTo>
                <a:cubicBezTo>
                  <a:pt x="226" y="155"/>
                  <a:pt x="227" y="151"/>
                  <a:pt x="228" y="147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30"/>
                  <a:pt x="231" y="130"/>
                  <a:pt x="231" y="130"/>
                </a:cubicBezTo>
                <a:cubicBezTo>
                  <a:pt x="228" y="130"/>
                  <a:pt x="228" y="130"/>
                  <a:pt x="228" y="130"/>
                </a:cubicBezTo>
                <a:cubicBezTo>
                  <a:pt x="227" y="126"/>
                  <a:pt x="226" y="122"/>
                  <a:pt x="225" y="118"/>
                </a:cubicBezTo>
                <a:close/>
                <a:moveTo>
                  <a:pt x="33" y="83"/>
                </a:moveTo>
                <a:cubicBezTo>
                  <a:pt x="60" y="83"/>
                  <a:pt x="60" y="83"/>
                  <a:pt x="60" y="83"/>
                </a:cubicBezTo>
                <a:cubicBezTo>
                  <a:pt x="60" y="88"/>
                  <a:pt x="60" y="88"/>
                  <a:pt x="60" y="88"/>
                </a:cubicBezTo>
                <a:cubicBezTo>
                  <a:pt x="33" y="88"/>
                  <a:pt x="33" y="88"/>
                  <a:pt x="33" y="88"/>
                </a:cubicBezTo>
                <a:lnTo>
                  <a:pt x="33" y="83"/>
                </a:lnTo>
                <a:close/>
                <a:moveTo>
                  <a:pt x="33" y="92"/>
                </a:moveTo>
                <a:cubicBezTo>
                  <a:pt x="60" y="92"/>
                  <a:pt x="60" y="92"/>
                  <a:pt x="60" y="92"/>
                </a:cubicBezTo>
                <a:cubicBezTo>
                  <a:pt x="60" y="97"/>
                  <a:pt x="60" y="97"/>
                  <a:pt x="60" y="97"/>
                </a:cubicBezTo>
                <a:cubicBezTo>
                  <a:pt x="33" y="97"/>
                  <a:pt x="33" y="97"/>
                  <a:pt x="33" y="97"/>
                </a:cubicBezTo>
                <a:lnTo>
                  <a:pt x="33" y="92"/>
                </a:lnTo>
                <a:close/>
                <a:moveTo>
                  <a:pt x="33" y="101"/>
                </a:moveTo>
                <a:cubicBezTo>
                  <a:pt x="60" y="101"/>
                  <a:pt x="60" y="101"/>
                  <a:pt x="60" y="101"/>
                </a:cubicBezTo>
                <a:cubicBezTo>
                  <a:pt x="60" y="106"/>
                  <a:pt x="60" y="106"/>
                  <a:pt x="60" y="106"/>
                </a:cubicBezTo>
                <a:cubicBezTo>
                  <a:pt x="33" y="106"/>
                  <a:pt x="33" y="106"/>
                  <a:pt x="33" y="106"/>
                </a:cubicBezTo>
                <a:lnTo>
                  <a:pt x="33" y="101"/>
                </a:lnTo>
                <a:close/>
                <a:moveTo>
                  <a:pt x="66" y="167"/>
                </a:moveTo>
                <a:cubicBezTo>
                  <a:pt x="63" y="170"/>
                  <a:pt x="59" y="171"/>
                  <a:pt x="55" y="171"/>
                </a:cubicBezTo>
                <a:cubicBezTo>
                  <a:pt x="50" y="171"/>
                  <a:pt x="46" y="170"/>
                  <a:pt x="43" y="167"/>
                </a:cubicBezTo>
                <a:cubicBezTo>
                  <a:pt x="40" y="164"/>
                  <a:pt x="39" y="160"/>
                  <a:pt x="39" y="155"/>
                </a:cubicBezTo>
                <a:cubicBezTo>
                  <a:pt x="39" y="151"/>
                  <a:pt x="40" y="147"/>
                  <a:pt x="43" y="144"/>
                </a:cubicBezTo>
                <a:cubicBezTo>
                  <a:pt x="46" y="141"/>
                  <a:pt x="50" y="140"/>
                  <a:pt x="55" y="140"/>
                </a:cubicBezTo>
                <a:cubicBezTo>
                  <a:pt x="59" y="140"/>
                  <a:pt x="63" y="141"/>
                  <a:pt x="66" y="144"/>
                </a:cubicBezTo>
                <a:cubicBezTo>
                  <a:pt x="69" y="147"/>
                  <a:pt x="70" y="151"/>
                  <a:pt x="70" y="155"/>
                </a:cubicBezTo>
                <a:cubicBezTo>
                  <a:pt x="70" y="160"/>
                  <a:pt x="69" y="164"/>
                  <a:pt x="66" y="167"/>
                </a:cubicBezTo>
                <a:close/>
                <a:moveTo>
                  <a:pt x="125" y="79"/>
                </a:moveTo>
                <a:cubicBezTo>
                  <a:pt x="131" y="31"/>
                  <a:pt x="131" y="31"/>
                  <a:pt x="131" y="31"/>
                </a:cubicBezTo>
                <a:cubicBezTo>
                  <a:pt x="191" y="31"/>
                  <a:pt x="191" y="31"/>
                  <a:pt x="191" y="31"/>
                </a:cubicBezTo>
                <a:cubicBezTo>
                  <a:pt x="196" y="79"/>
                  <a:pt x="196" y="79"/>
                  <a:pt x="196" y="79"/>
                </a:cubicBezTo>
                <a:lnTo>
                  <a:pt x="125" y="79"/>
                </a:lnTo>
                <a:close/>
                <a:moveTo>
                  <a:pt x="197" y="162"/>
                </a:moveTo>
                <a:cubicBezTo>
                  <a:pt x="191" y="168"/>
                  <a:pt x="183" y="171"/>
                  <a:pt x="173" y="171"/>
                </a:cubicBezTo>
                <a:cubicBezTo>
                  <a:pt x="164" y="171"/>
                  <a:pt x="156" y="168"/>
                  <a:pt x="150" y="162"/>
                </a:cubicBezTo>
                <a:cubicBezTo>
                  <a:pt x="144" y="156"/>
                  <a:pt x="141" y="148"/>
                  <a:pt x="141" y="138"/>
                </a:cubicBezTo>
                <a:cubicBezTo>
                  <a:pt x="141" y="129"/>
                  <a:pt x="144" y="121"/>
                  <a:pt x="150" y="115"/>
                </a:cubicBezTo>
                <a:cubicBezTo>
                  <a:pt x="156" y="109"/>
                  <a:pt x="164" y="105"/>
                  <a:pt x="173" y="105"/>
                </a:cubicBezTo>
                <a:cubicBezTo>
                  <a:pt x="183" y="105"/>
                  <a:pt x="191" y="109"/>
                  <a:pt x="197" y="115"/>
                </a:cubicBezTo>
                <a:cubicBezTo>
                  <a:pt x="203" y="121"/>
                  <a:pt x="206" y="129"/>
                  <a:pt x="206" y="138"/>
                </a:cubicBezTo>
                <a:cubicBezTo>
                  <a:pt x="206" y="148"/>
                  <a:pt x="203" y="156"/>
                  <a:pt x="197" y="16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defRPr/>
            </a:pPr>
            <a:endParaRPr lang="de-DE" sz="1013" kern="0" dirty="0">
              <a:solidFill>
                <a:srgbClr val="000000"/>
              </a:solidFill>
            </a:endParaRPr>
          </a:p>
        </p:txBody>
      </p:sp>
      <p:sp>
        <p:nvSpPr>
          <p:cNvPr id="113" name="Rectangle 87">
            <a:extLst>
              <a:ext uri="{FF2B5EF4-FFF2-40B4-BE49-F238E27FC236}">
                <a16:creationId xmlns="" xmlns:a16="http://schemas.microsoft.com/office/drawing/2014/main" id="{D5A8EAA6-9937-4F34-A864-B5889D7DECB6}"/>
              </a:ext>
            </a:extLst>
          </p:cNvPr>
          <p:cNvSpPr/>
          <p:nvPr/>
        </p:nvSpPr>
        <p:spPr>
          <a:xfrm>
            <a:off x="984716" y="3615282"/>
            <a:ext cx="7799752" cy="18697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1"/>
              </a:buClr>
            </a:pPr>
            <a:r>
              <a:rPr lang="en-US" sz="1350" b="1" dirty="0">
                <a:solidFill>
                  <a:schemeClr val="tx1"/>
                </a:solidFill>
                <a:latin typeface="Arial" panose="020B0604020202020204" pitchFamily="34" charset="0"/>
              </a:rPr>
              <a:t>NEXT Farming solution platform </a:t>
            </a:r>
          </a:p>
        </p:txBody>
      </p:sp>
      <p:sp>
        <p:nvSpPr>
          <p:cNvPr id="114" name="Isosceles Triangle 37">
            <a:extLst>
              <a:ext uri="{FF2B5EF4-FFF2-40B4-BE49-F238E27FC236}">
                <a16:creationId xmlns="" xmlns:a16="http://schemas.microsoft.com/office/drawing/2014/main" id="{39BEB27D-F1DF-4C09-9A82-DD14CB10019E}"/>
              </a:ext>
            </a:extLst>
          </p:cNvPr>
          <p:cNvSpPr/>
          <p:nvPr/>
        </p:nvSpPr>
        <p:spPr>
          <a:xfrm rot="10800000">
            <a:off x="1327481" y="3355725"/>
            <a:ext cx="6822056" cy="199259"/>
          </a:xfrm>
          <a:prstGeom prst="triangle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5" tIns="40505" rIns="40505" bIns="40505" rtlCol="0" anchor="ctr"/>
          <a:lstStyle/>
          <a:p>
            <a:pPr algn="ctr">
              <a:buClr>
                <a:schemeClr val="bg1"/>
              </a:buClr>
            </a:pPr>
            <a:endParaRPr lang="de-DE" sz="1013" dirty="0">
              <a:solidFill>
                <a:schemeClr val="bg1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="" xmlns:a16="http://schemas.microsoft.com/office/drawing/2014/main" id="{A46736BC-BF79-43C5-9EBF-48D635F1A567}"/>
              </a:ext>
            </a:extLst>
          </p:cNvPr>
          <p:cNvGrpSpPr/>
          <p:nvPr/>
        </p:nvGrpSpPr>
        <p:grpSpPr>
          <a:xfrm>
            <a:off x="955927" y="1308005"/>
            <a:ext cx="7828541" cy="720473"/>
            <a:chOff x="1274569" y="1744007"/>
            <a:chExt cx="10438054" cy="960630"/>
          </a:xfrm>
        </p:grpSpPr>
        <p:sp>
          <p:nvSpPr>
            <p:cNvPr id="56" name="Rectangle 28">
              <a:extLst>
                <a:ext uri="{FF2B5EF4-FFF2-40B4-BE49-F238E27FC236}">
                  <a16:creationId xmlns="" xmlns:a16="http://schemas.microsoft.com/office/drawing/2014/main" id="{DB4625A6-8D61-44BD-8828-242B7BD209A4}"/>
                </a:ext>
              </a:extLst>
            </p:cNvPr>
            <p:cNvSpPr/>
            <p:nvPr/>
          </p:nvSpPr>
          <p:spPr>
            <a:xfrm>
              <a:off x="1274569" y="1744007"/>
              <a:ext cx="10438054" cy="96063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0505" tIns="40505" rIns="40505" bIns="40505" rtlCol="0" anchor="ctr"/>
            <a:lstStyle/>
            <a:p>
              <a:pPr algn="ctr">
                <a:buClr>
                  <a:schemeClr val="bg1"/>
                </a:buClr>
              </a:pPr>
              <a:endParaRPr lang="de-DE" sz="1013" dirty="0">
                <a:solidFill>
                  <a:schemeClr val="bg1"/>
                </a:solidFill>
              </a:endParaRPr>
            </a:p>
          </p:txBody>
        </p:sp>
        <p:pic>
          <p:nvPicPr>
            <p:cNvPr id="59" name="Picture 5">
              <a:extLst>
                <a:ext uri="{FF2B5EF4-FFF2-40B4-BE49-F238E27FC236}">
                  <a16:creationId xmlns="" xmlns:a16="http://schemas.microsoft.com/office/drawing/2014/main" id="{305CA60D-93A1-4A98-AE15-5093BE43645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90408" y="1781492"/>
              <a:ext cx="1177200" cy="6776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50800" dist="38100" dir="2699985" algn="ctr" rotWithShape="0">
                      <a:schemeClr val="tx1">
                        <a:alpha val="40000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60" name="Picture 11" descr="thinkstock">
              <a:extLst>
                <a:ext uri="{FF2B5EF4-FFF2-40B4-BE49-F238E27FC236}">
                  <a16:creationId xmlns="" xmlns:a16="http://schemas.microsoft.com/office/drawing/2014/main" id="{FFD3FFE1-90D0-4C2F-8416-CE45FF6BF4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86552" y="1781492"/>
              <a:ext cx="1177200" cy="596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50800" dist="38100" dir="2699985" algn="ctr" rotWithShape="0">
                      <a:schemeClr val="tx1">
                        <a:alpha val="40000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61" name="Picture 13" descr="thinkstock">
              <a:extLst>
                <a:ext uri="{FF2B5EF4-FFF2-40B4-BE49-F238E27FC236}">
                  <a16:creationId xmlns="" xmlns:a16="http://schemas.microsoft.com/office/drawing/2014/main" id="{C346D09F-B4FB-47DA-A641-A09AA44BFB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/>
            <a:stretch/>
          </p:blipFill>
          <p:spPr bwMode="auto">
            <a:xfrm>
              <a:off x="5267908" y="1781492"/>
              <a:ext cx="1177200" cy="5495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50800" dist="38100" dir="2699985" algn="ctr" rotWithShape="0">
                      <a:schemeClr val="tx1">
                        <a:alpha val="40000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64" name="Picture 15" descr="thinkstock">
              <a:extLst>
                <a:ext uri="{FF2B5EF4-FFF2-40B4-BE49-F238E27FC236}">
                  <a16:creationId xmlns="" xmlns:a16="http://schemas.microsoft.com/office/drawing/2014/main" id="{EEA4CF19-16C6-43B9-B535-57F2A358DD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3049" b="3705"/>
            <a:stretch/>
          </p:blipFill>
          <p:spPr bwMode="auto">
            <a:xfrm>
              <a:off x="9165954" y="1781492"/>
              <a:ext cx="1182501" cy="596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50800" dist="38100" dir="2699985" algn="ctr" rotWithShape="0">
                      <a:schemeClr val="tx1">
                        <a:alpha val="40000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65" name="Picture 82">
              <a:extLst>
                <a:ext uri="{FF2B5EF4-FFF2-40B4-BE49-F238E27FC236}">
                  <a16:creationId xmlns="" xmlns:a16="http://schemas.microsoft.com/office/drawing/2014/main" id="{1F2D95F0-F3B0-48B6-97A9-AF01BCF99F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52484" y="1781492"/>
              <a:ext cx="1177200" cy="596817"/>
            </a:xfrm>
            <a:prstGeom prst="rect">
              <a:avLst/>
            </a:prstGeom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50800" dist="38100" dir="2699985" algn="ctr" rotWithShape="0">
                      <a:schemeClr val="tx1">
                        <a:alpha val="40000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66" name="Picture 14" descr="thinkstock">
              <a:extLst>
                <a:ext uri="{FF2B5EF4-FFF2-40B4-BE49-F238E27FC236}">
                  <a16:creationId xmlns="" xmlns:a16="http://schemas.microsoft.com/office/drawing/2014/main" id="{C19D0B22-1754-47BF-9766-8FEF36F67C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860196" y="1781492"/>
              <a:ext cx="1177200" cy="56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50800" dist="38100" dir="2699985" algn="ctr" rotWithShape="0">
                      <a:schemeClr val="tx1">
                        <a:alpha val="40000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90" name="Pentagon 52">
              <a:extLst>
                <a:ext uri="{FF2B5EF4-FFF2-40B4-BE49-F238E27FC236}">
                  <a16:creationId xmlns="" xmlns:a16="http://schemas.microsoft.com/office/drawing/2014/main" id="{2A268B01-83CE-44F3-AB9C-809F83B5B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8872" y="2302082"/>
              <a:ext cx="1287082" cy="357308"/>
            </a:xfrm>
            <a:prstGeom prst="homePlate">
              <a:avLst>
                <a:gd name="adj" fmla="val 23817"/>
              </a:avLst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txBody>
            <a:bodyPr wrap="square" lIns="0" tIns="0" rIns="0" bIns="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altLang="en-US" sz="675" b="1" dirty="0">
                  <a:solidFill>
                    <a:schemeClr val="bg1"/>
                  </a:solidFill>
                  <a:cs typeface="Arial" charset="0"/>
                </a:rPr>
                <a:t>Planning</a:t>
              </a:r>
              <a:endParaRPr lang="de-DE" altLang="en-US" sz="675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92" name="Chevron 53">
              <a:extLst>
                <a:ext uri="{FF2B5EF4-FFF2-40B4-BE49-F238E27FC236}">
                  <a16:creationId xmlns="" xmlns:a16="http://schemas.microsoft.com/office/drawing/2014/main" id="{D74A715F-B115-45E3-BC92-65BF991589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1253" y="2302082"/>
              <a:ext cx="1287082" cy="357308"/>
            </a:xfrm>
            <a:prstGeom prst="chevron">
              <a:avLst>
                <a:gd name="adj" fmla="val 23817"/>
              </a:avLst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txBody>
            <a:bodyPr lIns="0" tIns="40505" rIns="0" bIns="40505" anchor="ctr"/>
            <a:lstStyle/>
            <a:p>
              <a:pPr algn="ctr">
                <a:lnSpc>
                  <a:spcPct val="90000"/>
                </a:lnSpc>
              </a:pPr>
              <a:r>
                <a:rPr lang="en-US" altLang="en-US" sz="675" b="1" dirty="0">
                  <a:solidFill>
                    <a:schemeClr val="bg1"/>
                  </a:solidFill>
                </a:rPr>
                <a:t>Soil preparation</a:t>
              </a:r>
            </a:p>
          </p:txBody>
        </p:sp>
        <p:sp>
          <p:nvSpPr>
            <p:cNvPr id="102" name="Chevron 53">
              <a:extLst>
                <a:ext uri="{FF2B5EF4-FFF2-40B4-BE49-F238E27FC236}">
                  <a16:creationId xmlns="" xmlns:a16="http://schemas.microsoft.com/office/drawing/2014/main" id="{7275DABE-3758-46F4-9687-B9FF635F30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6015" y="2302082"/>
              <a:ext cx="1287082" cy="357308"/>
            </a:xfrm>
            <a:prstGeom prst="chevron">
              <a:avLst>
                <a:gd name="adj" fmla="val 23817"/>
              </a:avLst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txBody>
            <a:bodyPr lIns="40505" tIns="40505" rIns="40505" bIns="40505" anchor="ctr"/>
            <a:lstStyle/>
            <a:p>
              <a:pPr algn="ctr">
                <a:lnSpc>
                  <a:spcPct val="90000"/>
                </a:lnSpc>
              </a:pPr>
              <a:r>
                <a:rPr lang="de-DE" altLang="en-US" sz="675" b="1" dirty="0">
                  <a:solidFill>
                    <a:schemeClr val="bg1"/>
                  </a:solidFill>
                </a:rPr>
                <a:t>Fertilisation</a:t>
              </a:r>
            </a:p>
          </p:txBody>
        </p:sp>
        <p:sp>
          <p:nvSpPr>
            <p:cNvPr id="103" name="Chevron 53">
              <a:extLst>
                <a:ext uri="{FF2B5EF4-FFF2-40B4-BE49-F238E27FC236}">
                  <a16:creationId xmlns="" xmlns:a16="http://schemas.microsoft.com/office/drawing/2014/main" id="{DCA95D06-6BA5-4DF0-975C-80AEEA1E7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3158" y="2302082"/>
              <a:ext cx="1287082" cy="357308"/>
            </a:xfrm>
            <a:prstGeom prst="chevron">
              <a:avLst>
                <a:gd name="adj" fmla="val 23817"/>
              </a:avLst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txBody>
            <a:bodyPr lIns="40505" tIns="40505" rIns="40505" bIns="40505" anchor="ctr"/>
            <a:lstStyle/>
            <a:p>
              <a:pPr algn="ctr">
                <a:lnSpc>
                  <a:spcPct val="90000"/>
                </a:lnSpc>
              </a:pPr>
              <a:r>
                <a:rPr lang="de-DE" altLang="en-US" sz="675" b="1" dirty="0" err="1">
                  <a:solidFill>
                    <a:schemeClr val="bg1"/>
                  </a:solidFill>
                </a:rPr>
                <a:t>Harvesting</a:t>
              </a:r>
              <a:endParaRPr lang="de-DE" altLang="en-US" sz="675" b="1" dirty="0">
                <a:solidFill>
                  <a:schemeClr val="bg1"/>
                </a:solidFill>
              </a:endParaRPr>
            </a:p>
          </p:txBody>
        </p:sp>
        <p:sp>
          <p:nvSpPr>
            <p:cNvPr id="106" name="Chevron 53">
              <a:extLst>
                <a:ext uri="{FF2B5EF4-FFF2-40B4-BE49-F238E27FC236}">
                  <a16:creationId xmlns="" xmlns:a16="http://schemas.microsoft.com/office/drawing/2014/main" id="{FAC69B74-ECA7-4169-AA49-E56AEDDF91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25541" y="2302082"/>
              <a:ext cx="1287082" cy="357308"/>
            </a:xfrm>
            <a:prstGeom prst="chevron">
              <a:avLst>
                <a:gd name="adj" fmla="val 23817"/>
              </a:avLst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txBody>
            <a:bodyPr lIns="40505" tIns="40505" rIns="40505" bIns="40505" anchor="ctr"/>
            <a:lstStyle/>
            <a:p>
              <a:pPr algn="ctr">
                <a:lnSpc>
                  <a:spcPct val="90000"/>
                </a:lnSpc>
              </a:pPr>
              <a:r>
                <a:rPr lang="de-DE" altLang="en-US" sz="675" b="1" dirty="0">
                  <a:solidFill>
                    <a:schemeClr val="bg1"/>
                  </a:solidFill>
                </a:rPr>
                <a:t>Trading</a:t>
              </a:r>
            </a:p>
          </p:txBody>
        </p:sp>
        <p:sp>
          <p:nvSpPr>
            <p:cNvPr id="107" name="Chevron 53">
              <a:extLst>
                <a:ext uri="{FF2B5EF4-FFF2-40B4-BE49-F238E27FC236}">
                  <a16:creationId xmlns="" xmlns:a16="http://schemas.microsoft.com/office/drawing/2014/main" id="{9CD1ADA0-C096-414F-84EA-68CEE0EC49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0777" y="2302082"/>
              <a:ext cx="1287082" cy="357308"/>
            </a:xfrm>
            <a:prstGeom prst="chevron">
              <a:avLst>
                <a:gd name="adj" fmla="val 23817"/>
              </a:avLst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txBody>
            <a:bodyPr lIns="40505" tIns="40505" rIns="40505" bIns="40505" anchor="ctr"/>
            <a:lstStyle/>
            <a:p>
              <a:pPr algn="ctr">
                <a:lnSpc>
                  <a:spcPct val="90000"/>
                </a:lnSpc>
              </a:pPr>
              <a:r>
                <a:rPr lang="de-DE" altLang="en-US" sz="675" b="1" dirty="0" err="1">
                  <a:solidFill>
                    <a:schemeClr val="bg1"/>
                  </a:solidFill>
                </a:rPr>
                <a:t>Crop</a:t>
              </a:r>
              <a:r>
                <a:rPr lang="de-DE" altLang="en-US" sz="675" b="1" dirty="0">
                  <a:solidFill>
                    <a:schemeClr val="bg1"/>
                  </a:solidFill>
                </a:rPr>
                <a:t> </a:t>
              </a:r>
              <a:r>
                <a:rPr lang="de-DE" altLang="en-US" sz="675" b="1" dirty="0" err="1">
                  <a:solidFill>
                    <a:schemeClr val="bg1"/>
                  </a:solidFill>
                </a:rPr>
                <a:t>Protection</a:t>
              </a:r>
              <a:endParaRPr lang="de-DE" altLang="en-US" sz="675" b="1" dirty="0">
                <a:solidFill>
                  <a:schemeClr val="bg1"/>
                </a:solidFill>
              </a:endParaRPr>
            </a:p>
          </p:txBody>
        </p:sp>
        <p:pic>
          <p:nvPicPr>
            <p:cNvPr id="111" name="Picture 12" descr="thinkstock">
              <a:extLst>
                <a:ext uri="{FF2B5EF4-FFF2-40B4-BE49-F238E27FC236}">
                  <a16:creationId xmlns="" xmlns:a16="http://schemas.microsoft.com/office/drawing/2014/main" id="{B352500E-F22C-4336-8BFC-DBF7C0D3523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971764" y="1781492"/>
              <a:ext cx="1177200" cy="5646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50800" dist="38100" dir="2699985" algn="ctr" rotWithShape="0">
                      <a:schemeClr val="tx1">
                        <a:alpha val="40000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104" name="Chevron 53">
              <a:extLst>
                <a:ext uri="{FF2B5EF4-FFF2-40B4-BE49-F238E27FC236}">
                  <a16:creationId xmlns="" xmlns:a16="http://schemas.microsoft.com/office/drawing/2014/main" id="{1EAE27EB-80D6-4FA7-BAE2-13412697D9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3634" y="2302082"/>
              <a:ext cx="1287082" cy="357308"/>
            </a:xfrm>
            <a:prstGeom prst="chevron">
              <a:avLst>
                <a:gd name="adj" fmla="val 23817"/>
              </a:avLst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txBody>
            <a:bodyPr lIns="40505" tIns="40505" rIns="40505" bIns="40505" anchor="ctr"/>
            <a:lstStyle/>
            <a:p>
              <a:pPr algn="ctr">
                <a:lnSpc>
                  <a:spcPct val="90000"/>
                </a:lnSpc>
              </a:pPr>
              <a:r>
                <a:rPr lang="de-DE" altLang="en-US" sz="675" b="1" dirty="0" err="1">
                  <a:solidFill>
                    <a:schemeClr val="bg1"/>
                  </a:solidFill>
                </a:rPr>
                <a:t>Seeding</a:t>
              </a:r>
              <a:endParaRPr lang="de-DE" altLang="en-US" sz="675" b="1" dirty="0">
                <a:solidFill>
                  <a:schemeClr val="bg1"/>
                </a:solidFill>
              </a:endParaRPr>
            </a:p>
          </p:txBody>
        </p:sp>
        <p:pic>
          <p:nvPicPr>
            <p:cNvPr id="69" name="Grafik 68">
              <a:extLst>
                <a:ext uri="{FF2B5EF4-FFF2-40B4-BE49-F238E27FC236}">
                  <a16:creationId xmlns="" xmlns:a16="http://schemas.microsoft.com/office/drawing/2014/main" id="{B5235BF9-2A3E-4EC1-9836-B645BE1D12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706" b="13759"/>
            <a:stretch/>
          </p:blipFill>
          <p:spPr>
            <a:xfrm>
              <a:off x="6564052" y="1781492"/>
              <a:ext cx="1177200" cy="577776"/>
            </a:xfrm>
            <a:prstGeom prst="rect">
              <a:avLst/>
            </a:prstGeom>
          </p:spPr>
        </p:pic>
        <p:sp>
          <p:nvSpPr>
            <p:cNvPr id="58" name="Chevron 53">
              <a:extLst>
                <a:ext uri="{FF2B5EF4-FFF2-40B4-BE49-F238E27FC236}">
                  <a16:creationId xmlns="" xmlns:a16="http://schemas.microsoft.com/office/drawing/2014/main" id="{ABAEDDFC-B0A5-4BA0-AE4D-92DC4A440D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8396" y="2302082"/>
              <a:ext cx="1287082" cy="357308"/>
            </a:xfrm>
            <a:prstGeom prst="chevron">
              <a:avLst>
                <a:gd name="adj" fmla="val 23817"/>
              </a:avLst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txBody>
            <a:bodyPr lIns="40505" tIns="40505" rIns="40505" bIns="40505" anchor="ctr"/>
            <a:lstStyle/>
            <a:p>
              <a:pPr algn="ctr">
                <a:lnSpc>
                  <a:spcPct val="90000"/>
                </a:lnSpc>
              </a:pPr>
              <a:r>
                <a:rPr lang="de-DE" altLang="en-US" sz="675" b="1" dirty="0">
                  <a:solidFill>
                    <a:schemeClr val="bg1"/>
                  </a:solidFill>
                </a:rPr>
                <a:t>Irrigation </a:t>
              </a:r>
            </a:p>
          </p:txBody>
        </p:sp>
      </p:grpSp>
      <p:sp>
        <p:nvSpPr>
          <p:cNvPr id="57" name="Rectangle 71">
            <a:extLst>
              <a:ext uri="{FF2B5EF4-FFF2-40B4-BE49-F238E27FC236}">
                <a16:creationId xmlns="" xmlns:a16="http://schemas.microsoft.com/office/drawing/2014/main" id="{0BA0DE14-9E39-47CF-8E79-62CBDB68ECF5}"/>
              </a:ext>
            </a:extLst>
          </p:cNvPr>
          <p:cNvSpPr/>
          <p:nvPr/>
        </p:nvSpPr>
        <p:spPr>
          <a:xfrm>
            <a:off x="145423" y="1500443"/>
            <a:ext cx="642546" cy="29084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chemeClr val="bg1"/>
              </a:buClr>
            </a:pPr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</a:rPr>
              <a:t>Growing journey</a:t>
            </a:r>
          </a:p>
        </p:txBody>
      </p:sp>
      <p:sp>
        <p:nvSpPr>
          <p:cNvPr id="62" name="Rectangle 72">
            <a:extLst>
              <a:ext uri="{FF2B5EF4-FFF2-40B4-BE49-F238E27FC236}">
                <a16:creationId xmlns="" xmlns:a16="http://schemas.microsoft.com/office/drawing/2014/main" id="{C5CFB548-4199-4107-A26C-EDC4F91039CD}"/>
              </a:ext>
            </a:extLst>
          </p:cNvPr>
          <p:cNvSpPr/>
          <p:nvPr/>
        </p:nvSpPr>
        <p:spPr>
          <a:xfrm>
            <a:off x="167819" y="3005060"/>
            <a:ext cx="715911" cy="29084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chemeClr val="bg1"/>
              </a:buClr>
            </a:pPr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</a:rPr>
              <a:t>Functional activities</a:t>
            </a:r>
          </a:p>
        </p:txBody>
      </p:sp>
      <p:sp>
        <p:nvSpPr>
          <p:cNvPr id="74" name="Rectangle 104">
            <a:extLst>
              <a:ext uri="{FF2B5EF4-FFF2-40B4-BE49-F238E27FC236}">
                <a16:creationId xmlns="" xmlns:a16="http://schemas.microsoft.com/office/drawing/2014/main" id="{5A68379E-1AAA-4FAB-ACF3-F7EED2E4074C}"/>
              </a:ext>
            </a:extLst>
          </p:cNvPr>
          <p:cNvSpPr/>
          <p:nvPr/>
        </p:nvSpPr>
        <p:spPr>
          <a:xfrm>
            <a:off x="145423" y="2495853"/>
            <a:ext cx="642546" cy="29084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chemeClr val="bg1"/>
              </a:buClr>
            </a:pPr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</a:rPr>
              <a:t>Farming</a:t>
            </a:r>
            <a:b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</a:rPr>
              <a:t>input</a:t>
            </a:r>
          </a:p>
        </p:txBody>
      </p:sp>
      <p:sp>
        <p:nvSpPr>
          <p:cNvPr id="75" name="Rectangle 62">
            <a:extLst>
              <a:ext uri="{FF2B5EF4-FFF2-40B4-BE49-F238E27FC236}">
                <a16:creationId xmlns="" xmlns:a16="http://schemas.microsoft.com/office/drawing/2014/main" id="{7FBD6F08-50A5-45D3-BEC2-B12C158CFC97}"/>
              </a:ext>
            </a:extLst>
          </p:cNvPr>
          <p:cNvSpPr/>
          <p:nvPr/>
        </p:nvSpPr>
        <p:spPr>
          <a:xfrm>
            <a:off x="145423" y="2048055"/>
            <a:ext cx="715911" cy="29084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chemeClr val="bg1"/>
              </a:buClr>
            </a:pPr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</a:rPr>
              <a:t>Farming</a:t>
            </a:r>
            <a:b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</a:rPr>
              <a:t>operations</a:t>
            </a:r>
          </a:p>
        </p:txBody>
      </p:sp>
      <p:sp>
        <p:nvSpPr>
          <p:cNvPr id="76" name="Rectangle 72">
            <a:extLst>
              <a:ext uri="{FF2B5EF4-FFF2-40B4-BE49-F238E27FC236}">
                <a16:creationId xmlns="" xmlns:a16="http://schemas.microsoft.com/office/drawing/2014/main" id="{88798651-26F9-4245-B41C-BBC5304C5B0F}"/>
              </a:ext>
            </a:extLst>
          </p:cNvPr>
          <p:cNvSpPr/>
          <p:nvPr/>
        </p:nvSpPr>
        <p:spPr>
          <a:xfrm>
            <a:off x="145423" y="4142397"/>
            <a:ext cx="706801" cy="14542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chemeClr val="bg1"/>
              </a:buClr>
            </a:pPr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</a:rPr>
              <a:t>Users</a:t>
            </a:r>
          </a:p>
        </p:txBody>
      </p:sp>
    </p:spTree>
    <p:extLst>
      <p:ext uri="{BB962C8B-B14F-4D97-AF65-F5344CB8AC3E}">
        <p14:creationId xmlns:p14="http://schemas.microsoft.com/office/powerpoint/2010/main" val="324077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B0FA87E-4ADE-4BE8-9ECF-EF5A37D0F2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Folie" r:id="rId8" imgW="473" imgH="473" progId="TCLayout.ActiveDocument.1">
                  <p:embed/>
                </p:oleObj>
              </mc:Choice>
              <mc:Fallback>
                <p:oleObj name="think-cell Folie" r:id="rId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6175BE87-71EA-4AFA-B17A-9F32A7365D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endParaRPr lang="en-US" sz="900" b="1" i="1" dirty="0" err="1">
              <a:solidFill>
                <a:srgbClr val="FFFFFF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xmlns="" id="{1725F61E-454F-4764-9E9C-DFD73244787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14300"/>
            <a:ext cx="6176963" cy="7842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24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Farming </a:t>
            </a:r>
            <a:r>
              <a:rPr lang="en-US" sz="2400" b="1" dirty="0" err="1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chstum</a:t>
            </a:r>
            <a:endParaRPr lang="en-US" sz="24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1">
            <a:extLst/>
          </p:cNvPr>
          <p:cNvSpPr/>
          <p:nvPr/>
        </p:nvSpPr>
        <p:spPr>
          <a:xfrm>
            <a:off x="1266826" y="61832"/>
            <a:ext cx="5183281" cy="18766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54007" rIns="0" bIns="54007" rtlCol="0" anchor="ctr">
            <a:noAutofit/>
          </a:bodyPr>
          <a:lstStyle/>
          <a:p>
            <a:pPr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600" dirty="0">
                <a:solidFill>
                  <a:srgbClr val="FFFFFF">
                    <a:lumMod val="65000"/>
                  </a:srgbClr>
                </a:solidFill>
              </a:rPr>
              <a:t>B.1 Ready: Current business model</a:t>
            </a:r>
          </a:p>
        </p:txBody>
      </p:sp>
      <p:sp>
        <p:nvSpPr>
          <p:cNvPr id="39" name="Rectangle 9">
            <a:extLst>
              <a:ext uri="{FF2B5EF4-FFF2-40B4-BE49-F238E27FC236}">
                <a16:creationId xmlns:a16="http://schemas.microsoft.com/office/drawing/2014/main" xmlns="" id="{B92F00A0-E2AE-4820-9CA0-B173099D4E1A}"/>
              </a:ext>
            </a:extLst>
          </p:cNvPr>
          <p:cNvSpPr/>
          <p:nvPr/>
        </p:nvSpPr>
        <p:spPr>
          <a:xfrm>
            <a:off x="2323378" y="1778408"/>
            <a:ext cx="1251545" cy="554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endParaRPr lang="de-DE" sz="600" baseline="30000" dirty="0">
              <a:solidFill>
                <a:srgbClr val="333333"/>
              </a:solidFill>
            </a:endParaRPr>
          </a:p>
        </p:txBody>
      </p:sp>
      <p:sp>
        <p:nvSpPr>
          <p:cNvPr id="22" name="shpSideHeading">
            <a:extLst>
              <a:ext uri="{FF2B5EF4-FFF2-40B4-BE49-F238E27FC236}">
                <a16:creationId xmlns:a16="http://schemas.microsoft.com/office/drawing/2014/main" xmlns="" id="{5045893C-A42D-4DD0-BA1C-E23BA761AF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536" y="1293979"/>
            <a:ext cx="874268" cy="266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54000" bIns="0" anchor="t" anchorCtr="0">
            <a:noAutofit/>
          </a:bodyPr>
          <a:lstStyle>
            <a:defPPr>
              <a:defRPr lang="en-US"/>
            </a:defPPr>
            <a:lvl1pPr marL="0" algn="r" defTabSz="914400" eaLnBrk="1" latinLnBrk="0" hangingPunct="1">
              <a:lnSpc>
                <a:spcPct val="105000"/>
              </a:lnSpc>
              <a:defRPr sz="16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n-ea"/>
              </a:defRPr>
            </a:lvl1pPr>
            <a:lvl2pPr defTabSz="914400" eaLnBrk="1" latinLnBrk="0" hangingPunct="1">
              <a:defRPr sz="1800">
                <a:latin typeface="+mn-lt"/>
                <a:ea typeface="+mn-ea"/>
              </a:defRPr>
            </a:lvl2pPr>
            <a:lvl3pPr defTabSz="914400" eaLnBrk="1" latinLnBrk="0" hangingPunct="1">
              <a:defRPr sz="1800">
                <a:latin typeface="+mn-lt"/>
                <a:ea typeface="+mn-ea"/>
              </a:defRPr>
            </a:lvl3pPr>
            <a:lvl4pPr defTabSz="914400" eaLnBrk="1" latinLnBrk="0" hangingPunct="1">
              <a:defRPr sz="1800">
                <a:latin typeface="+mn-lt"/>
                <a:ea typeface="+mn-ea"/>
              </a:defRPr>
            </a:lvl4pPr>
            <a:lvl5pPr defTabSz="914400" eaLnBrk="1" latinLnBrk="0" hangingPunct="1">
              <a:defRPr sz="1800">
                <a:latin typeface="+mn-lt"/>
                <a:ea typeface="+mn-ea"/>
              </a:defRPr>
            </a:lvl5pPr>
            <a:lvl6pPr>
              <a:defRPr sz="1800">
                <a:latin typeface="+mn-lt"/>
                <a:ea typeface="+mn-ea"/>
              </a:defRPr>
            </a:lvl6pPr>
            <a:lvl7pPr>
              <a:defRPr sz="1800">
                <a:latin typeface="+mn-lt"/>
                <a:ea typeface="+mn-ea"/>
              </a:defRPr>
            </a:lvl7pPr>
            <a:lvl8pPr>
              <a:defRPr sz="1800">
                <a:latin typeface="+mn-lt"/>
                <a:ea typeface="+mn-ea"/>
              </a:defRPr>
            </a:lvl8pPr>
            <a:lvl9pPr>
              <a:defRPr sz="1800">
                <a:latin typeface="+mn-lt"/>
                <a:ea typeface="+mn-ea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i="1" dirty="0">
                <a:solidFill>
                  <a:srgbClr val="333333"/>
                </a:solidFill>
              </a:rPr>
              <a:t>Number of new FarmFacts customers grew by a CAGR of 123% from 2015 - ’18, today covering almost </a:t>
            </a:r>
            <a:r>
              <a:rPr lang="en-US" sz="1200" b="1" i="1" dirty="0">
                <a:solidFill>
                  <a:srgbClr val="333333"/>
                </a:solidFill>
              </a:rPr>
              <a:t>1/3 of Germany’s crop lan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b="1" i="1" dirty="0">
              <a:solidFill>
                <a:srgbClr val="333333"/>
              </a:solidFill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1421703" y="1113589"/>
            <a:ext cx="3625306" cy="187661"/>
            <a:chOff x="1643576" y="1484784"/>
            <a:chExt cx="4833741" cy="250215"/>
          </a:xfrm>
        </p:grpSpPr>
        <p:sp>
          <p:nvSpPr>
            <p:cNvPr id="30" name="Rectangle 1">
              <a:extLst>
                <a:ext uri="{FF2B5EF4-FFF2-40B4-BE49-F238E27FC236}">
                  <a16:creationId xmlns:a16="http://schemas.microsoft.com/office/drawing/2014/main" xmlns="" id="{A0DD1ED5-382E-4D4E-B40C-9D35012A0364}"/>
                </a:ext>
              </a:extLst>
            </p:cNvPr>
            <p:cNvSpPr/>
            <p:nvPr/>
          </p:nvSpPr>
          <p:spPr>
            <a:xfrm>
              <a:off x="1643576" y="1484784"/>
              <a:ext cx="4805135" cy="25021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007" tIns="54007" rIns="54007" bIns="54007" rtlCol="0" anchor="t">
              <a:noAutofit/>
            </a:bodyPr>
            <a:lstStyle/>
            <a:p>
              <a:pPr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GB" sz="900" b="1" dirty="0">
                  <a:solidFill>
                    <a:srgbClr val="008843"/>
                  </a:solidFill>
                </a:rPr>
                <a:t>New customers per </a:t>
              </a:r>
              <a:r>
                <a:rPr lang="de-DE" sz="900" b="1" dirty="0" err="1">
                  <a:solidFill>
                    <a:srgbClr val="008843"/>
                  </a:solidFill>
                </a:rPr>
                <a:t>year</a:t>
              </a:r>
              <a:r>
                <a:rPr lang="en-GB" sz="900" b="1" dirty="0">
                  <a:solidFill>
                    <a:srgbClr val="008843"/>
                  </a:solidFill>
                </a:rPr>
                <a:t> 2015 – 2018</a:t>
              </a:r>
              <a:endParaRPr lang="en-US" sz="900" b="1" dirty="0">
                <a:solidFill>
                  <a:srgbClr val="008843"/>
                </a:solidFill>
              </a:endParaRPr>
            </a:p>
          </p:txBody>
        </p:sp>
        <p:cxnSp>
          <p:nvCxnSpPr>
            <p:cNvPr id="31" name="Gerade Verbindung 4">
              <a:extLst>
                <a:ext uri="{FF2B5EF4-FFF2-40B4-BE49-F238E27FC236}">
                  <a16:creationId xmlns:a16="http://schemas.microsoft.com/office/drawing/2014/main" xmlns="" id="{0B708BEC-CE40-48DE-827B-EE07E406BE16}"/>
                </a:ext>
              </a:extLst>
            </p:cNvPr>
            <p:cNvCxnSpPr>
              <a:cxnSpLocks/>
            </p:cNvCxnSpPr>
            <p:nvPr/>
          </p:nvCxnSpPr>
          <p:spPr>
            <a:xfrm>
              <a:off x="1676431" y="1734999"/>
              <a:ext cx="4800886" cy="0"/>
            </a:xfrm>
            <a:prstGeom prst="line">
              <a:avLst/>
            </a:prstGeom>
            <a:ln w="12700">
              <a:solidFill>
                <a:srgbClr val="0096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xmlns="" id="{A12BC212-5F41-4242-9890-3C9BA7A509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0258532"/>
              </p:ext>
            </p:extLst>
          </p:nvPr>
        </p:nvGraphicFramePr>
        <p:xfrm>
          <a:off x="1260803" y="1332082"/>
          <a:ext cx="4094284" cy="2994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E769B87A-4395-447F-A704-38A201281032}"/>
              </a:ext>
            </a:extLst>
          </p:cNvPr>
          <p:cNvSpPr/>
          <p:nvPr/>
        </p:nvSpPr>
        <p:spPr>
          <a:xfrm>
            <a:off x="664045" y="4265962"/>
            <a:ext cx="8255438" cy="459080"/>
          </a:xfrm>
          <a:prstGeom prst="rect">
            <a:avLst/>
          </a:prstGeom>
          <a:noFill/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 defTabSz="685800" fontAlgn="base">
              <a:spcBef>
                <a:spcPct val="0"/>
              </a:spcBef>
              <a:spcAft>
                <a:spcPts val="225"/>
              </a:spcAft>
              <a:buClr>
                <a:srgbClr val="000000"/>
              </a:buClr>
              <a:buSzPct val="100000"/>
            </a:pPr>
            <a:r>
              <a:rPr lang="en-GB" sz="1050" b="1" dirty="0">
                <a:solidFill>
                  <a:srgbClr val="00965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Due to farmers’ tremendous daily challenges, demand for sophisticated farm management software solutions is experiencing strong growth which fosters FarmFacts as a leading smart farming solution provider</a:t>
            </a:r>
            <a:endParaRPr lang="en-US" sz="1050" b="1" dirty="0">
              <a:solidFill>
                <a:srgbClr val="00965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18" name="Grafik 1">
            <a:extLst>
              <a:ext uri="{FF2B5EF4-FFF2-40B4-BE49-F238E27FC236}">
                <a16:creationId xmlns:a16="http://schemas.microsoft.com/office/drawing/2014/main" xmlns="" id="{52342531-5929-4431-81CB-662CC4BB3C28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786" b="98438" l="9924" r="8982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375" r="13677"/>
          <a:stretch/>
        </p:blipFill>
        <p:spPr bwMode="auto">
          <a:xfrm>
            <a:off x="5523723" y="1472166"/>
            <a:ext cx="1824233" cy="2324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uppieren 7"/>
          <p:cNvGrpSpPr/>
          <p:nvPr/>
        </p:nvGrpSpPr>
        <p:grpSpPr>
          <a:xfrm>
            <a:off x="5463471" y="1093858"/>
            <a:ext cx="3348000" cy="207392"/>
            <a:chOff x="6729345" y="1447329"/>
            <a:chExt cx="2303810" cy="287670"/>
          </a:xfrm>
        </p:grpSpPr>
        <p:sp>
          <p:nvSpPr>
            <p:cNvPr id="20" name="Rectangle 1">
              <a:extLst>
                <a:ext uri="{FF2B5EF4-FFF2-40B4-BE49-F238E27FC236}">
                  <a16:creationId xmlns:a16="http://schemas.microsoft.com/office/drawing/2014/main" xmlns="" id="{FE161FFD-B4EE-449A-80D6-B695DB2BCB48}"/>
                </a:ext>
              </a:extLst>
            </p:cNvPr>
            <p:cNvSpPr/>
            <p:nvPr/>
          </p:nvSpPr>
          <p:spPr>
            <a:xfrm>
              <a:off x="6729345" y="1447329"/>
              <a:ext cx="2290176" cy="25021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007" tIns="54007" rIns="54007" bIns="54007" rtlCol="0" anchor="t">
              <a:noAutofit/>
            </a:bodyPr>
            <a:lstStyle/>
            <a:p>
              <a:pPr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GB" sz="900" b="1" dirty="0">
                  <a:solidFill>
                    <a:srgbClr val="008843"/>
                  </a:solidFill>
                </a:rPr>
                <a:t>Our customers in Germany</a:t>
              </a:r>
              <a:endParaRPr lang="en-US" sz="900" b="1" dirty="0">
                <a:solidFill>
                  <a:srgbClr val="008843"/>
                </a:solidFill>
              </a:endParaRPr>
            </a:p>
          </p:txBody>
        </p:sp>
        <p:cxnSp>
          <p:nvCxnSpPr>
            <p:cNvPr id="21" name="Gerade Verbindung 4">
              <a:extLst>
                <a:ext uri="{FF2B5EF4-FFF2-40B4-BE49-F238E27FC236}">
                  <a16:creationId xmlns:a16="http://schemas.microsoft.com/office/drawing/2014/main" xmlns="" id="{926A7BBB-D87A-4AD6-9A3D-ACC9D0A10F13}"/>
                </a:ext>
              </a:extLst>
            </p:cNvPr>
            <p:cNvCxnSpPr>
              <a:cxnSpLocks/>
            </p:cNvCxnSpPr>
            <p:nvPr/>
          </p:nvCxnSpPr>
          <p:spPr>
            <a:xfrm>
              <a:off x="6745004" y="1734999"/>
              <a:ext cx="2288151" cy="0"/>
            </a:xfrm>
            <a:prstGeom prst="line">
              <a:avLst/>
            </a:prstGeom>
            <a:ln w="12700">
              <a:solidFill>
                <a:srgbClr val="0096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061097BC-B1B6-42C2-9DBE-D90F0CC041E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 flipV="1">
            <a:off x="2087724" y="1517101"/>
            <a:ext cx="2430270" cy="2080764"/>
          </a:xfrm>
          <a:prstGeom prst="line">
            <a:avLst/>
          </a:prstGeom>
          <a:ln w="25400">
            <a:solidFill>
              <a:srgbClr val="A6A6A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2">
            <a:extLst>
              <a:ext uri="{FF2B5EF4-FFF2-40B4-BE49-F238E27FC236}">
                <a16:creationId xmlns:a16="http://schemas.microsoft.com/office/drawing/2014/main" xmlns="" id="{C26EA8B6-E40A-489F-9891-0CD15548402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36769" y="2509288"/>
            <a:ext cx="819815" cy="193157"/>
          </a:xfrm>
          <a:prstGeom prst="ellipse">
            <a:avLst/>
          </a:prstGeom>
          <a:solidFill>
            <a:srgbClr val="A6A6A6"/>
          </a:solidFill>
          <a:ln w="9525">
            <a:solidFill>
              <a:srgbClr val="FFFFFF"/>
            </a:solidFill>
            <a:miter lim="800000"/>
            <a:headEnd/>
            <a:tailEnd/>
          </a:ln>
          <a:ex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7800" indent="-177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11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355600" indent="-177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11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2pPr>
            <a:lvl3pPr marL="541338" indent="-18573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11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3pPr>
            <a:lvl4pPr marL="719138" indent="-177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11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4pPr>
            <a:lvl5pPr marL="896938" indent="-177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11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5pPr>
            <a:lvl6pPr marL="1325880" indent="-265176" algn="l" defTabSz="914400" rtl="0" eaLnBrk="1" latinLnBrk="0" hangingPunct="1">
              <a:spcBef>
                <a:spcPts val="0"/>
              </a:spcBef>
              <a:spcAft>
                <a:spcPts val="110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25880" indent="-265176" algn="l" defTabSz="914400" rtl="0" eaLnBrk="1" latinLnBrk="0" hangingPunct="1">
              <a:spcBef>
                <a:spcPts val="0"/>
              </a:spcBef>
              <a:spcAft>
                <a:spcPts val="110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25880" indent="-265176" algn="l" defTabSz="914400" rtl="0" eaLnBrk="1" latinLnBrk="0" hangingPunct="1">
              <a:spcBef>
                <a:spcPts val="0"/>
              </a:spcBef>
              <a:spcAft>
                <a:spcPts val="110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25880" indent="-265176" algn="l" defTabSz="914400" rtl="0" eaLnBrk="1" latinLnBrk="0" hangingPunct="1">
              <a:spcBef>
                <a:spcPts val="0"/>
              </a:spcBef>
              <a:spcAft>
                <a:spcPts val="1100"/>
              </a:spcAft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Aft>
                <a:spcPct val="0"/>
              </a:spcAft>
              <a:buNone/>
            </a:pPr>
            <a:r>
              <a:rPr lang="en-US" altLang="de-DE" sz="750" b="1" i="1" dirty="0">
                <a:solidFill>
                  <a:srgbClr val="FFFFFF"/>
                </a:solidFill>
                <a:sym typeface="+mn-lt"/>
              </a:rPr>
              <a:t>CAGR +123%</a:t>
            </a: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xmlns="" id="{998A578F-AC58-44E5-98EA-8DFC57C22E18}"/>
              </a:ext>
            </a:extLst>
          </p:cNvPr>
          <p:cNvSpPr/>
          <p:nvPr/>
        </p:nvSpPr>
        <p:spPr>
          <a:xfrm>
            <a:off x="5535492" y="3790777"/>
            <a:ext cx="1779443" cy="32352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0505" tIns="40505" rIns="40500" bIns="40505" rtlCol="0" anchor="t">
            <a:noAutofit/>
          </a:bodyPr>
          <a:lstStyle/>
          <a:p>
            <a:pPr algn="ctr" defTabSz="685800" fontAlgn="base">
              <a:spcBef>
                <a:spcPts val="169"/>
              </a:spcBef>
              <a:spcAft>
                <a:spcPct val="0"/>
              </a:spcAft>
              <a:buClr>
                <a:srgbClr val="000000"/>
              </a:buClr>
              <a:buSzPct val="100000"/>
              <a:tabLst>
                <a:tab pos="1008162" algn="l"/>
                <a:tab pos="1914525" algn="l"/>
              </a:tabLst>
            </a:pPr>
            <a:r>
              <a:rPr lang="en-US" sz="900" dirty="0">
                <a:solidFill>
                  <a:srgbClr val="000000"/>
                </a:solidFill>
              </a:rPr>
              <a:t>Each dot represents one of our approx. 20,000 customers</a:t>
            </a:r>
          </a:p>
        </p:txBody>
      </p:sp>
      <p:sp>
        <p:nvSpPr>
          <p:cNvPr id="12" name="Ellipse 11"/>
          <p:cNvSpPr/>
          <p:nvPr/>
        </p:nvSpPr>
        <p:spPr>
          <a:xfrm>
            <a:off x="7672515" y="2242379"/>
            <a:ext cx="1459455" cy="1080000"/>
          </a:xfrm>
          <a:prstGeom prst="ellipse">
            <a:avLst/>
          </a:prstGeom>
          <a:noFill/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7" tIns="54007" rIns="54007" bIns="54007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de-DE" sz="2700" b="1" dirty="0">
                <a:solidFill>
                  <a:srgbClr val="000000"/>
                </a:solidFill>
              </a:rPr>
              <a:t>3,8m </a:t>
            </a:r>
            <a:br>
              <a:rPr lang="de-DE" sz="2700" b="1" dirty="0">
                <a:solidFill>
                  <a:srgbClr val="000000"/>
                </a:solidFill>
              </a:rPr>
            </a:br>
            <a:r>
              <a:rPr lang="de-DE" sz="2700" dirty="0">
                <a:solidFill>
                  <a:srgbClr val="000000"/>
                </a:solidFill>
              </a:rPr>
              <a:t>ha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3" name="Gleichschenkliges Dreieck 12"/>
          <p:cNvSpPr/>
          <p:nvPr/>
        </p:nvSpPr>
        <p:spPr>
          <a:xfrm rot="5400000">
            <a:off x="6822760" y="2666085"/>
            <a:ext cx="1701189" cy="208042"/>
          </a:xfrm>
          <a:prstGeom prst="triangle">
            <a:avLst/>
          </a:prstGeom>
          <a:solidFill>
            <a:srgbClr val="FFC000"/>
          </a:solidFill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7" tIns="54007" rIns="54007" bIns="54007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endParaRPr lang="de-DE" sz="135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07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tONzRJRiewigGawMIe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dcYBjJTtKdjjKWriZs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07nBchSgKfkdDz1fLi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FhvkBoQtuzs9aMcJ6K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E3ZW3GTEuAwcaXtmvk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da0a616c-a752-4371-bcac-78412b624b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bb2X7MRqa7edR_NsJe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Farm Facts Farbpalette">
      <a:dk1>
        <a:srgbClr val="000000"/>
      </a:dk1>
      <a:lt1>
        <a:srgbClr val="FFFFFF"/>
      </a:lt1>
      <a:dk2>
        <a:srgbClr val="000000"/>
      </a:dk2>
      <a:lt2>
        <a:srgbClr val="009650"/>
      </a:lt2>
      <a:accent1>
        <a:srgbClr val="009650"/>
      </a:accent1>
      <a:accent2>
        <a:srgbClr val="009650"/>
      </a:accent2>
      <a:accent3>
        <a:srgbClr val="009650"/>
      </a:accent3>
      <a:accent4>
        <a:srgbClr val="009650"/>
      </a:accent4>
      <a:accent5>
        <a:srgbClr val="009650"/>
      </a:accent5>
      <a:accent6>
        <a:srgbClr val="E63223"/>
      </a:accent6>
      <a:hlink>
        <a:srgbClr val="009650"/>
      </a:hlink>
      <a:folHlink>
        <a:srgbClr val="0096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enutzerdefiniertes Design">
  <a:themeElements>
    <a:clrScheme name="Farm Facts Farbpalette">
      <a:dk1>
        <a:srgbClr val="000000"/>
      </a:dk1>
      <a:lt1>
        <a:srgbClr val="FFFFFF"/>
      </a:lt1>
      <a:dk2>
        <a:srgbClr val="000000"/>
      </a:dk2>
      <a:lt2>
        <a:srgbClr val="009650"/>
      </a:lt2>
      <a:accent1>
        <a:srgbClr val="009650"/>
      </a:accent1>
      <a:accent2>
        <a:srgbClr val="009650"/>
      </a:accent2>
      <a:accent3>
        <a:srgbClr val="009650"/>
      </a:accent3>
      <a:accent4>
        <a:srgbClr val="009650"/>
      </a:accent4>
      <a:accent5>
        <a:srgbClr val="009650"/>
      </a:accent5>
      <a:accent6>
        <a:srgbClr val="E63223"/>
      </a:accent6>
      <a:hlink>
        <a:srgbClr val="009650"/>
      </a:hlink>
      <a:folHlink>
        <a:srgbClr val="0096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enutzerdefiniertes Design">
  <a:themeElements>
    <a:clrScheme name="Farm Facts Farbpalette">
      <a:dk1>
        <a:srgbClr val="000000"/>
      </a:dk1>
      <a:lt1>
        <a:srgbClr val="FFFFFF"/>
      </a:lt1>
      <a:dk2>
        <a:srgbClr val="000000"/>
      </a:dk2>
      <a:lt2>
        <a:srgbClr val="009650"/>
      </a:lt2>
      <a:accent1>
        <a:srgbClr val="009650"/>
      </a:accent1>
      <a:accent2>
        <a:srgbClr val="009650"/>
      </a:accent2>
      <a:accent3>
        <a:srgbClr val="009650"/>
      </a:accent3>
      <a:accent4>
        <a:srgbClr val="009650"/>
      </a:accent4>
      <a:accent5>
        <a:srgbClr val="009650"/>
      </a:accent5>
      <a:accent6>
        <a:srgbClr val="E63223"/>
      </a:accent6>
      <a:hlink>
        <a:srgbClr val="009650"/>
      </a:hlink>
      <a:folHlink>
        <a:srgbClr val="0096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35</Words>
  <Application>Microsoft Office PowerPoint</Application>
  <PresentationFormat>Bildschirmpräsentation (16:9)</PresentationFormat>
  <Paragraphs>122</Paragraphs>
  <Slides>11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1</vt:i4>
      </vt:variant>
    </vt:vector>
  </HeadingPairs>
  <TitlesOfParts>
    <vt:vector size="21" baseType="lpstr">
      <vt:lpstr>ＭＳ Ｐゴシック</vt:lpstr>
      <vt:lpstr>ＭＳ Ｐゴシック</vt:lpstr>
      <vt:lpstr>Arial</vt:lpstr>
      <vt:lpstr>Calibri</vt:lpstr>
      <vt:lpstr>Wingdings</vt:lpstr>
      <vt:lpstr>Office-Design</vt:lpstr>
      <vt:lpstr>Benutzerdefiniertes Design</vt:lpstr>
      <vt:lpstr>1_Benutzerdefiniertes Design</vt:lpstr>
      <vt:lpstr>think-cell Slid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Best in class machine management solution with a strong and open partner network (aag)</vt:lpstr>
      <vt:lpstr>Flexible Lösungen entlang der Wertschöpfungskette als Basis für Partnerschaften.</vt:lpstr>
      <vt:lpstr>NEXT Farming Wachstum</vt:lpstr>
      <vt:lpstr>PowerPoint-Präsentation</vt:lpstr>
      <vt:lpstr>PowerPoint-Präsentation</vt:lpstr>
    </vt:vector>
  </TitlesOfParts>
  <Company>KOMMID Werbu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ristina Walter</dc:creator>
  <cp:lastModifiedBy>Alex Wiener</cp:lastModifiedBy>
  <cp:revision>149</cp:revision>
  <dcterms:created xsi:type="dcterms:W3CDTF">2018-06-18T14:11:55Z</dcterms:created>
  <dcterms:modified xsi:type="dcterms:W3CDTF">2019-09-09T13:30:03Z</dcterms:modified>
</cp:coreProperties>
</file>